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306" r:id="rId1"/>
    <p:sldMasterId id="2147484312" r:id="rId2"/>
  </p:sldMasterIdLst>
  <p:notesMasterIdLst>
    <p:notesMasterId r:id="rId10"/>
  </p:notesMasterIdLst>
  <p:sldIdLst>
    <p:sldId id="506" r:id="rId3"/>
    <p:sldId id="503" r:id="rId4"/>
    <p:sldId id="504" r:id="rId5"/>
    <p:sldId id="500" r:id="rId6"/>
    <p:sldId id="505" r:id="rId7"/>
    <p:sldId id="501" r:id="rId8"/>
    <p:sldId id="495" r:id="rId9"/>
  </p:sldIdLst>
  <p:sldSz cx="12192000" cy="6858000"/>
  <p:notesSz cx="6797675" cy="9926638"/>
  <p:embeddedFontLst>
    <p:embeddedFont>
      <p:font typeface="Segoe UI" panose="020B0502040204020203" pitchFamily="34" charset="0"/>
      <p:regular r:id="rId11"/>
      <p:bold r:id="rId12"/>
      <p:italic r:id="rId13"/>
      <p:boldItalic r:id="rId14"/>
    </p:embeddedFont>
    <p:embeddedFont>
      <p:font typeface="Segoe UI Semibold" panose="020B0702040204020203" pitchFamily="34" charset="0"/>
      <p:regular r:id="rId15"/>
      <p:bold r:id="rId16"/>
      <p:italic r:id="rId17"/>
      <p:boldItalic r:id="rId18"/>
    </p:embeddedFont>
    <p:embeddedFont>
      <p:font typeface="Montserrat Bold" panose="020B0604020202020204" charset="-52"/>
      <p:bold r:id="rId19"/>
    </p:embeddedFont>
    <p:embeddedFont>
      <p:font typeface="Golos UI" panose="020B0604020202020204" charset="-52"/>
      <p:regular r:id="rId20"/>
      <p:bold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Segoe UI Black" panose="020B0A02040204020203" pitchFamily="34" charset="0"/>
      <p:bold r:id="rId26"/>
      <p:italic r:id="rId27"/>
      <p:boldItalic r:id="rId28"/>
    </p:embeddedFont>
  </p:embeddedFontLst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06"/>
            <p14:sldId id="503"/>
            <p14:sldId id="504"/>
            <p14:sldId id="500"/>
            <p14:sldId id="505"/>
            <p14:sldId id="501"/>
            <p14:sldId id="4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pos="74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2222"/>
    <a:srgbClr val="000000"/>
    <a:srgbClr val="84E0F7"/>
    <a:srgbClr val="9165E8"/>
    <a:srgbClr val="1D46F3"/>
    <a:srgbClr val="FFD633"/>
    <a:srgbClr val="FFCF4D"/>
    <a:srgbClr val="191919"/>
    <a:srgbClr val="8670F2"/>
    <a:srgbClr val="866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92" autoAdjust="0"/>
    <p:restoredTop sz="96281"/>
  </p:normalViewPr>
  <p:slideViewPr>
    <p:cSldViewPr snapToGrid="0">
      <p:cViewPr varScale="1">
        <p:scale>
          <a:sx n="111" d="100"/>
          <a:sy n="111" d="100"/>
        </p:scale>
        <p:origin x="810" y="102"/>
      </p:cViewPr>
      <p:guideLst>
        <p:guide orient="horz" pos="618"/>
        <p:guide pos="234"/>
        <p:guide pos="74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3" Type="http://schemas.openxmlformats.org/officeDocument/2006/relationships/slide" Target="slides/slide1.xml"/><Relationship Id="rId21" Type="http://schemas.openxmlformats.org/officeDocument/2006/relationships/font" Target="fonts/font11.fntdata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font" Target="fonts/font18.fntdata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font" Target="fonts/font17.fntdata"/><Relationship Id="rId30" Type="http://schemas.openxmlformats.org/officeDocument/2006/relationships/commentAuthors" Target="commentAuthors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27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52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666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2"/>
            <a:ext cx="9144001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1" indent="0" algn="ctr">
              <a:buNone/>
              <a:defRPr sz="1600"/>
            </a:lvl4pPr>
            <a:lvl5pPr marL="1828708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1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759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6307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7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8319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1016000" y="0"/>
            <a:ext cx="5080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627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40000"/>
                </a:schemeClr>
              </a:gs>
              <a:gs pos="99000">
                <a:schemeClr val="tx1">
                  <a:alpha val="20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3698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2"/>
            <a:ext cx="9144001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1" indent="0" algn="ctr">
              <a:buNone/>
              <a:defRPr sz="1600"/>
            </a:lvl4pPr>
            <a:lvl5pPr marL="1828708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1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020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2"/>
            <a:ext cx="9144001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1" indent="0" algn="ctr">
              <a:buNone/>
              <a:defRPr sz="1600"/>
            </a:lvl4pPr>
            <a:lvl5pPr marL="1828708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1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269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23B31-CA6E-4D54-8B82-2B67958FD540}" type="datetimeFigureOut">
              <a:rPr lang="ru-RU" smtClean="0">
                <a:solidFill>
                  <a:srgbClr val="222222"/>
                </a:solidFill>
              </a:rPr>
              <a:pPr/>
              <a:t>27.02.2023</a:t>
            </a:fld>
            <a:endParaRPr lang="ru-RU">
              <a:solidFill>
                <a:srgbClr val="222222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222222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87E7B-78D9-4302-8C10-8B901E417621}" type="slidenum">
              <a:rPr lang="ru-RU" smtClean="0">
                <a:solidFill>
                  <a:srgbClr val="222222"/>
                </a:solidFill>
              </a:rPr>
              <a:pPr/>
              <a:t>‹#›</a:t>
            </a:fld>
            <a:endParaRPr lang="ru-RU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151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28824" y="946702"/>
            <a:ext cx="9152697" cy="1249845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28824" y="2514600"/>
            <a:ext cx="9152698" cy="3429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</p:spTree>
    <p:extLst>
      <p:ext uri="{BB962C8B-B14F-4D97-AF65-F5344CB8AC3E}">
        <p14:creationId xmlns:p14="http://schemas.microsoft.com/office/powerpoint/2010/main" val="2371690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1" r:id="rId3"/>
    <p:sldLayoutId id="2147484319" r:id="rId4"/>
  </p:sldLayoutIdLst>
  <p:hf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3600" b="1" i="0" kern="1200" spc="-151" baseline="0">
          <a:solidFill>
            <a:schemeClr val="tx1"/>
          </a:solidFill>
          <a:latin typeface="+mj-lt"/>
          <a:ea typeface="Montserrat SemiBold" charset="0"/>
          <a:cs typeface="Montserrat SemiBold" charset="0"/>
        </a:defRPr>
      </a:lvl1pPr>
    </p:titleStyle>
    <p:bodyStyle>
      <a:lvl1pPr marL="0" indent="0" algn="l" defTabSz="914318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pos="642">
          <p15:clr>
            <a:srgbClr val="F26B43"/>
          </p15:clr>
        </p15:guide>
        <p15:guide id="29" pos="7038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>
          <p15:clr>
            <a:srgbClr val="F26B43"/>
          </p15:clr>
        </p15:guide>
        <p15:guide id="51" orient="horz" pos="709">
          <p15:clr>
            <a:srgbClr val="F26B43"/>
          </p15:clr>
        </p15:guide>
        <p15:guide id="52" pos="1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28824" y="946702"/>
            <a:ext cx="9152697" cy="1249845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28824" y="2514600"/>
            <a:ext cx="9152698" cy="3429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</p:spTree>
    <p:extLst>
      <p:ext uri="{BB962C8B-B14F-4D97-AF65-F5344CB8AC3E}">
        <p14:creationId xmlns:p14="http://schemas.microsoft.com/office/powerpoint/2010/main" val="58213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  <p:sldLayoutId id="2147484316" r:id="rId4"/>
    <p:sldLayoutId id="2147484318" r:id="rId5"/>
  </p:sldLayoutIdLst>
  <p:hf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3600" b="1" i="0" kern="1200" spc="-151" baseline="0">
          <a:solidFill>
            <a:schemeClr val="tx1"/>
          </a:solidFill>
          <a:latin typeface="+mj-lt"/>
          <a:ea typeface="Montserrat SemiBold" charset="0"/>
          <a:cs typeface="Montserrat SemiBold" charset="0"/>
        </a:defRPr>
      </a:lvl1pPr>
    </p:titleStyle>
    <p:bodyStyle>
      <a:lvl1pPr marL="0" indent="0" algn="l" defTabSz="914318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pos="642">
          <p15:clr>
            <a:srgbClr val="F26B43"/>
          </p15:clr>
        </p15:guide>
        <p15:guide id="29" pos="7038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>
          <p15:clr>
            <a:srgbClr val="F26B43"/>
          </p15:clr>
        </p15:guide>
        <p15:guide id="51" orient="horz" pos="709">
          <p15:clr>
            <a:srgbClr val="F26B43"/>
          </p15:clr>
        </p15:guide>
        <p15:guide id="52" pos="1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gi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8.png"/><Relationship Id="rId2" Type="http://schemas.openxmlformats.org/officeDocument/2006/relationships/tags" Target="../tags/tag2.xml"/><Relationship Id="rId16" Type="http://schemas.openxmlformats.org/officeDocument/2006/relationships/image" Target="../media/image27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.pn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g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gif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000"/>
            <a:ext cx="12198350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928" y="5248653"/>
            <a:ext cx="4343409" cy="160934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30" y="592078"/>
            <a:ext cx="2602467" cy="55704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397317" y="3045663"/>
            <a:ext cx="2829312" cy="95323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745221" y="1663225"/>
            <a:ext cx="11090217" cy="3781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 </a:t>
            </a:r>
            <a:r>
              <a:rPr lang="ru-RU" sz="80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анк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7058380" y="757460"/>
            <a:ext cx="4492625" cy="216083"/>
            <a:chOff x="2858728" y="6326621"/>
            <a:chExt cx="7755701" cy="122156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8238168" y="6378819"/>
              <a:ext cx="1203101" cy="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Прямоугольник 9"/>
            <p:cNvSpPr/>
            <p:nvPr/>
          </p:nvSpPr>
          <p:spPr>
            <a:xfrm>
              <a:off x="7015836" y="6326621"/>
              <a:ext cx="1222332" cy="1043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оссия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9609216" y="6344381"/>
              <a:ext cx="1005213" cy="1043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dirty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023 </a:t>
              </a: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2858728" y="6378819"/>
              <a:ext cx="39855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Группа 12"/>
          <p:cNvGrpSpPr/>
          <p:nvPr/>
        </p:nvGrpSpPr>
        <p:grpSpPr>
          <a:xfrm>
            <a:off x="0" y="5871512"/>
            <a:ext cx="12192000" cy="1008530"/>
            <a:chOff x="0" y="6578600"/>
            <a:chExt cx="12192000" cy="1008530"/>
          </a:xfrm>
        </p:grpSpPr>
        <p:grpSp>
          <p:nvGrpSpPr>
            <p:cNvPr id="14" name="Группа 13"/>
            <p:cNvGrpSpPr/>
            <p:nvPr/>
          </p:nvGrpSpPr>
          <p:grpSpPr>
            <a:xfrm>
              <a:off x="0" y="6587958"/>
              <a:ext cx="12192000" cy="999172"/>
              <a:chOff x="0" y="6587958"/>
              <a:chExt cx="12192000" cy="999172"/>
            </a:xfrm>
          </p:grpSpPr>
          <p:sp>
            <p:nvSpPr>
              <p:cNvPr id="16" name="Прямоугольник 15"/>
              <p:cNvSpPr/>
              <p:nvPr/>
            </p:nvSpPr>
            <p:spPr>
              <a:xfrm>
                <a:off x="0" y="7401495"/>
                <a:ext cx="12192000" cy="18563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" name="Freeform 152"/>
              <p:cNvSpPr>
                <a:spLocks/>
              </p:cNvSpPr>
              <p:nvPr/>
            </p:nvSpPr>
            <p:spPr bwMode="auto">
              <a:xfrm>
                <a:off x="6744823" y="6851646"/>
                <a:ext cx="313557" cy="600863"/>
              </a:xfrm>
              <a:custGeom>
                <a:avLst/>
                <a:gdLst>
                  <a:gd name="T0" fmla="*/ 205 w 215"/>
                  <a:gd name="T1" fmla="*/ 96 h 412"/>
                  <a:gd name="T2" fmla="*/ 195 w 215"/>
                  <a:gd name="T3" fmla="*/ 88 h 412"/>
                  <a:gd name="T4" fmla="*/ 187 w 215"/>
                  <a:gd name="T5" fmla="*/ 86 h 412"/>
                  <a:gd name="T6" fmla="*/ 131 w 215"/>
                  <a:gd name="T7" fmla="*/ 98 h 412"/>
                  <a:gd name="T8" fmla="*/ 115 w 215"/>
                  <a:gd name="T9" fmla="*/ 98 h 412"/>
                  <a:gd name="T10" fmla="*/ 86 w 215"/>
                  <a:gd name="T11" fmla="*/ 92 h 412"/>
                  <a:gd name="T12" fmla="*/ 82 w 215"/>
                  <a:gd name="T13" fmla="*/ 82 h 412"/>
                  <a:gd name="T14" fmla="*/ 94 w 215"/>
                  <a:gd name="T15" fmla="*/ 72 h 412"/>
                  <a:gd name="T16" fmla="*/ 102 w 215"/>
                  <a:gd name="T17" fmla="*/ 64 h 412"/>
                  <a:gd name="T18" fmla="*/ 100 w 215"/>
                  <a:gd name="T19" fmla="*/ 56 h 412"/>
                  <a:gd name="T20" fmla="*/ 90 w 215"/>
                  <a:gd name="T21" fmla="*/ 50 h 412"/>
                  <a:gd name="T22" fmla="*/ 62 w 215"/>
                  <a:gd name="T23" fmla="*/ 48 h 412"/>
                  <a:gd name="T24" fmla="*/ 54 w 215"/>
                  <a:gd name="T25" fmla="*/ 52 h 412"/>
                  <a:gd name="T26" fmla="*/ 46 w 215"/>
                  <a:gd name="T27" fmla="*/ 74 h 412"/>
                  <a:gd name="T28" fmla="*/ 38 w 215"/>
                  <a:gd name="T29" fmla="*/ 70 h 412"/>
                  <a:gd name="T30" fmla="*/ 32 w 215"/>
                  <a:gd name="T31" fmla="*/ 56 h 412"/>
                  <a:gd name="T32" fmla="*/ 20 w 215"/>
                  <a:gd name="T33" fmla="*/ 30 h 412"/>
                  <a:gd name="T34" fmla="*/ 20 w 215"/>
                  <a:gd name="T35" fmla="*/ 18 h 412"/>
                  <a:gd name="T36" fmla="*/ 24 w 215"/>
                  <a:gd name="T37" fmla="*/ 4 h 412"/>
                  <a:gd name="T38" fmla="*/ 14 w 215"/>
                  <a:gd name="T39" fmla="*/ 0 h 412"/>
                  <a:gd name="T40" fmla="*/ 8 w 215"/>
                  <a:gd name="T41" fmla="*/ 30 h 412"/>
                  <a:gd name="T42" fmla="*/ 10 w 215"/>
                  <a:gd name="T43" fmla="*/ 48 h 412"/>
                  <a:gd name="T44" fmla="*/ 12 w 215"/>
                  <a:gd name="T45" fmla="*/ 72 h 412"/>
                  <a:gd name="T46" fmla="*/ 28 w 215"/>
                  <a:gd name="T47" fmla="*/ 94 h 412"/>
                  <a:gd name="T48" fmla="*/ 34 w 215"/>
                  <a:gd name="T49" fmla="*/ 104 h 412"/>
                  <a:gd name="T50" fmla="*/ 32 w 215"/>
                  <a:gd name="T51" fmla="*/ 120 h 412"/>
                  <a:gd name="T52" fmla="*/ 32 w 215"/>
                  <a:gd name="T53" fmla="*/ 140 h 412"/>
                  <a:gd name="T54" fmla="*/ 32 w 215"/>
                  <a:gd name="T55" fmla="*/ 166 h 412"/>
                  <a:gd name="T56" fmla="*/ 36 w 215"/>
                  <a:gd name="T57" fmla="*/ 190 h 412"/>
                  <a:gd name="T58" fmla="*/ 42 w 215"/>
                  <a:gd name="T59" fmla="*/ 196 h 412"/>
                  <a:gd name="T60" fmla="*/ 42 w 215"/>
                  <a:gd name="T61" fmla="*/ 258 h 412"/>
                  <a:gd name="T62" fmla="*/ 52 w 215"/>
                  <a:gd name="T63" fmla="*/ 284 h 412"/>
                  <a:gd name="T64" fmla="*/ 58 w 215"/>
                  <a:gd name="T65" fmla="*/ 318 h 412"/>
                  <a:gd name="T66" fmla="*/ 68 w 215"/>
                  <a:gd name="T67" fmla="*/ 346 h 412"/>
                  <a:gd name="T68" fmla="*/ 68 w 215"/>
                  <a:gd name="T69" fmla="*/ 362 h 412"/>
                  <a:gd name="T70" fmla="*/ 12 w 215"/>
                  <a:gd name="T71" fmla="*/ 412 h 412"/>
                  <a:gd name="T72" fmla="*/ 173 w 215"/>
                  <a:gd name="T73" fmla="*/ 382 h 412"/>
                  <a:gd name="T74" fmla="*/ 173 w 215"/>
                  <a:gd name="T75" fmla="*/ 368 h 412"/>
                  <a:gd name="T76" fmla="*/ 171 w 215"/>
                  <a:gd name="T77" fmla="*/ 342 h 412"/>
                  <a:gd name="T78" fmla="*/ 179 w 215"/>
                  <a:gd name="T79" fmla="*/ 342 h 412"/>
                  <a:gd name="T80" fmla="*/ 187 w 215"/>
                  <a:gd name="T81" fmla="*/ 330 h 412"/>
                  <a:gd name="T82" fmla="*/ 169 w 215"/>
                  <a:gd name="T83" fmla="*/ 310 h 412"/>
                  <a:gd name="T84" fmla="*/ 115 w 215"/>
                  <a:gd name="T85" fmla="*/ 230 h 412"/>
                  <a:gd name="T86" fmla="*/ 105 w 215"/>
                  <a:gd name="T87" fmla="*/ 204 h 412"/>
                  <a:gd name="T88" fmla="*/ 86 w 215"/>
                  <a:gd name="T89" fmla="*/ 190 h 412"/>
                  <a:gd name="T90" fmla="*/ 94 w 215"/>
                  <a:gd name="T91" fmla="*/ 130 h 412"/>
                  <a:gd name="T92" fmla="*/ 123 w 215"/>
                  <a:gd name="T93" fmla="*/ 124 h 412"/>
                  <a:gd name="T94" fmla="*/ 181 w 215"/>
                  <a:gd name="T95" fmla="*/ 106 h 412"/>
                  <a:gd name="T96" fmla="*/ 197 w 215"/>
                  <a:gd name="T97" fmla="*/ 108 h 412"/>
                  <a:gd name="T98" fmla="*/ 213 w 215"/>
                  <a:gd name="T99" fmla="*/ 106 h 412"/>
                  <a:gd name="T100" fmla="*/ 215 w 215"/>
                  <a:gd name="T101" fmla="*/ 10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" h="412">
                    <a:moveTo>
                      <a:pt x="211" y="98"/>
                    </a:moveTo>
                    <a:lnTo>
                      <a:pt x="211" y="98"/>
                    </a:lnTo>
                    <a:lnTo>
                      <a:pt x="205" y="96"/>
                    </a:lnTo>
                    <a:lnTo>
                      <a:pt x="201" y="92"/>
                    </a:lnTo>
                    <a:lnTo>
                      <a:pt x="199" y="90"/>
                    </a:lnTo>
                    <a:lnTo>
                      <a:pt x="195" y="88"/>
                    </a:lnTo>
                    <a:lnTo>
                      <a:pt x="195" y="88"/>
                    </a:lnTo>
                    <a:lnTo>
                      <a:pt x="191" y="86"/>
                    </a:lnTo>
                    <a:lnTo>
                      <a:pt x="187" y="86"/>
                    </a:lnTo>
                    <a:lnTo>
                      <a:pt x="179" y="88"/>
                    </a:lnTo>
                    <a:lnTo>
                      <a:pt x="179" y="88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5" y="98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86" y="92"/>
                    </a:lnTo>
                    <a:lnTo>
                      <a:pt x="80" y="9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8" y="74"/>
                    </a:lnTo>
                    <a:lnTo>
                      <a:pt x="88" y="74"/>
                    </a:lnTo>
                    <a:lnTo>
                      <a:pt x="94" y="72"/>
                    </a:lnTo>
                    <a:lnTo>
                      <a:pt x="100" y="7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3" y="62"/>
                    </a:lnTo>
                    <a:lnTo>
                      <a:pt x="102" y="60"/>
                    </a:lnTo>
                    <a:lnTo>
                      <a:pt x="100" y="56"/>
                    </a:lnTo>
                    <a:lnTo>
                      <a:pt x="94" y="56"/>
                    </a:lnTo>
                    <a:lnTo>
                      <a:pt x="94" y="56"/>
                    </a:lnTo>
                    <a:lnTo>
                      <a:pt x="90" y="50"/>
                    </a:lnTo>
                    <a:lnTo>
                      <a:pt x="82" y="48"/>
                    </a:lnTo>
                    <a:lnTo>
                      <a:pt x="74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58" y="50"/>
                    </a:lnTo>
                    <a:lnTo>
                      <a:pt x="54" y="52"/>
                    </a:lnTo>
                    <a:lnTo>
                      <a:pt x="48" y="62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2" y="56"/>
                    </a:lnTo>
                    <a:lnTo>
                      <a:pt x="26" y="46"/>
                    </a:lnTo>
                    <a:lnTo>
                      <a:pt x="22" y="38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8" y="24"/>
                    </a:lnTo>
                    <a:lnTo>
                      <a:pt x="20" y="1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6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4" y="78"/>
                    </a:lnTo>
                    <a:lnTo>
                      <a:pt x="18" y="82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2" y="100"/>
                    </a:lnTo>
                    <a:lnTo>
                      <a:pt x="34" y="104"/>
                    </a:lnTo>
                    <a:lnTo>
                      <a:pt x="34" y="112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28" y="128"/>
                    </a:lnTo>
                    <a:lnTo>
                      <a:pt x="30" y="134"/>
                    </a:lnTo>
                    <a:lnTo>
                      <a:pt x="32" y="140"/>
                    </a:lnTo>
                    <a:lnTo>
                      <a:pt x="32" y="146"/>
                    </a:lnTo>
                    <a:lnTo>
                      <a:pt x="32" y="146"/>
                    </a:lnTo>
                    <a:lnTo>
                      <a:pt x="32" y="166"/>
                    </a:lnTo>
                    <a:lnTo>
                      <a:pt x="32" y="166"/>
                    </a:lnTo>
                    <a:lnTo>
                      <a:pt x="32" y="180"/>
                    </a:lnTo>
                    <a:lnTo>
                      <a:pt x="36" y="190"/>
                    </a:lnTo>
                    <a:lnTo>
                      <a:pt x="40" y="194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0" y="224"/>
                    </a:lnTo>
                    <a:lnTo>
                      <a:pt x="40" y="246"/>
                    </a:lnTo>
                    <a:lnTo>
                      <a:pt x="42" y="258"/>
                    </a:lnTo>
                    <a:lnTo>
                      <a:pt x="46" y="268"/>
                    </a:lnTo>
                    <a:lnTo>
                      <a:pt x="46" y="268"/>
                    </a:lnTo>
                    <a:lnTo>
                      <a:pt x="52" y="284"/>
                    </a:lnTo>
                    <a:lnTo>
                      <a:pt x="56" y="296"/>
                    </a:lnTo>
                    <a:lnTo>
                      <a:pt x="58" y="318"/>
                    </a:lnTo>
                    <a:lnTo>
                      <a:pt x="58" y="318"/>
                    </a:lnTo>
                    <a:lnTo>
                      <a:pt x="62" y="336"/>
                    </a:lnTo>
                    <a:lnTo>
                      <a:pt x="68" y="346"/>
                    </a:lnTo>
                    <a:lnTo>
                      <a:pt x="68" y="346"/>
                    </a:lnTo>
                    <a:lnTo>
                      <a:pt x="68" y="352"/>
                    </a:lnTo>
                    <a:lnTo>
                      <a:pt x="68" y="356"/>
                    </a:lnTo>
                    <a:lnTo>
                      <a:pt x="68" y="362"/>
                    </a:lnTo>
                    <a:lnTo>
                      <a:pt x="50" y="386"/>
                    </a:lnTo>
                    <a:lnTo>
                      <a:pt x="12" y="386"/>
                    </a:lnTo>
                    <a:lnTo>
                      <a:pt x="12" y="412"/>
                    </a:lnTo>
                    <a:lnTo>
                      <a:pt x="193" y="412"/>
                    </a:lnTo>
                    <a:lnTo>
                      <a:pt x="193" y="382"/>
                    </a:lnTo>
                    <a:lnTo>
                      <a:pt x="173" y="382"/>
                    </a:lnTo>
                    <a:lnTo>
                      <a:pt x="171" y="366"/>
                    </a:lnTo>
                    <a:lnTo>
                      <a:pt x="171" y="366"/>
                    </a:lnTo>
                    <a:lnTo>
                      <a:pt x="173" y="368"/>
                    </a:lnTo>
                    <a:lnTo>
                      <a:pt x="173" y="364"/>
                    </a:lnTo>
                    <a:lnTo>
                      <a:pt x="173" y="356"/>
                    </a:lnTo>
                    <a:lnTo>
                      <a:pt x="171" y="342"/>
                    </a:lnTo>
                    <a:lnTo>
                      <a:pt x="171" y="342"/>
                    </a:lnTo>
                    <a:lnTo>
                      <a:pt x="175" y="342"/>
                    </a:lnTo>
                    <a:lnTo>
                      <a:pt x="179" y="342"/>
                    </a:lnTo>
                    <a:lnTo>
                      <a:pt x="181" y="338"/>
                    </a:lnTo>
                    <a:lnTo>
                      <a:pt x="181" y="338"/>
                    </a:lnTo>
                    <a:lnTo>
                      <a:pt x="187" y="330"/>
                    </a:lnTo>
                    <a:lnTo>
                      <a:pt x="187" y="330"/>
                    </a:lnTo>
                    <a:lnTo>
                      <a:pt x="179" y="322"/>
                    </a:lnTo>
                    <a:lnTo>
                      <a:pt x="169" y="310"/>
                    </a:lnTo>
                    <a:lnTo>
                      <a:pt x="145" y="276"/>
                    </a:lnTo>
                    <a:lnTo>
                      <a:pt x="115" y="230"/>
                    </a:lnTo>
                    <a:lnTo>
                      <a:pt x="115" y="230"/>
                    </a:lnTo>
                    <a:lnTo>
                      <a:pt x="113" y="220"/>
                    </a:lnTo>
                    <a:lnTo>
                      <a:pt x="109" y="212"/>
                    </a:lnTo>
                    <a:lnTo>
                      <a:pt x="105" y="204"/>
                    </a:lnTo>
                    <a:lnTo>
                      <a:pt x="100" y="200"/>
                    </a:lnTo>
                    <a:lnTo>
                      <a:pt x="90" y="192"/>
                    </a:lnTo>
                    <a:lnTo>
                      <a:pt x="86" y="190"/>
                    </a:lnTo>
                    <a:lnTo>
                      <a:pt x="86" y="190"/>
                    </a:lnTo>
                    <a:lnTo>
                      <a:pt x="92" y="154"/>
                    </a:lnTo>
                    <a:lnTo>
                      <a:pt x="94" y="130"/>
                    </a:lnTo>
                    <a:lnTo>
                      <a:pt x="94" y="130"/>
                    </a:lnTo>
                    <a:lnTo>
                      <a:pt x="123" y="124"/>
                    </a:lnTo>
                    <a:lnTo>
                      <a:pt x="123" y="124"/>
                    </a:lnTo>
                    <a:lnTo>
                      <a:pt x="163" y="112"/>
                    </a:lnTo>
                    <a:lnTo>
                      <a:pt x="163" y="112"/>
                    </a:lnTo>
                    <a:lnTo>
                      <a:pt x="181" y="106"/>
                    </a:lnTo>
                    <a:lnTo>
                      <a:pt x="189" y="106"/>
                    </a:lnTo>
                    <a:lnTo>
                      <a:pt x="197" y="108"/>
                    </a:lnTo>
                    <a:lnTo>
                      <a:pt x="197" y="108"/>
                    </a:lnTo>
                    <a:lnTo>
                      <a:pt x="201" y="110"/>
                    </a:lnTo>
                    <a:lnTo>
                      <a:pt x="205" y="110"/>
                    </a:lnTo>
                    <a:lnTo>
                      <a:pt x="213" y="106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1" y="98"/>
                    </a:lnTo>
                    <a:lnTo>
                      <a:pt x="211" y="9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" name="Line 153"/>
              <p:cNvSpPr>
                <a:spLocks noChangeShapeType="1"/>
              </p:cNvSpPr>
              <p:nvPr/>
            </p:nvSpPr>
            <p:spPr bwMode="auto">
              <a:xfrm flipV="1">
                <a:off x="6733156" y="6600800"/>
                <a:ext cx="160424" cy="312099"/>
              </a:xfrm>
              <a:prstGeom prst="line">
                <a:avLst/>
              </a:prstGeom>
              <a:noFill/>
              <a:ln w="12700">
                <a:solidFill>
                  <a:srgbClr val="19191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" name="AutoShape 155"/>
              <p:cNvSpPr>
                <a:spLocks noChangeAspect="1" noChangeArrowheads="1" noTextEdit="1"/>
              </p:cNvSpPr>
              <p:nvPr/>
            </p:nvSpPr>
            <p:spPr bwMode="auto">
              <a:xfrm>
                <a:off x="2260004" y="6869534"/>
                <a:ext cx="1155700" cy="582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" name="Freeform 157"/>
              <p:cNvSpPr>
                <a:spLocks/>
              </p:cNvSpPr>
              <p:nvPr/>
            </p:nvSpPr>
            <p:spPr bwMode="auto">
              <a:xfrm>
                <a:off x="1621481" y="6976760"/>
                <a:ext cx="942964" cy="475369"/>
              </a:xfrm>
              <a:custGeom>
                <a:avLst/>
                <a:gdLst>
                  <a:gd name="T0" fmla="*/ 712 w 728"/>
                  <a:gd name="T1" fmla="*/ 195 h 367"/>
                  <a:gd name="T2" fmla="*/ 678 w 728"/>
                  <a:gd name="T3" fmla="*/ 166 h 367"/>
                  <a:gd name="T4" fmla="*/ 646 w 728"/>
                  <a:gd name="T5" fmla="*/ 195 h 367"/>
                  <a:gd name="T6" fmla="*/ 612 w 728"/>
                  <a:gd name="T7" fmla="*/ 166 h 367"/>
                  <a:gd name="T8" fmla="*/ 578 w 728"/>
                  <a:gd name="T9" fmla="*/ 195 h 367"/>
                  <a:gd name="T10" fmla="*/ 546 w 728"/>
                  <a:gd name="T11" fmla="*/ 166 h 367"/>
                  <a:gd name="T12" fmla="*/ 512 w 728"/>
                  <a:gd name="T13" fmla="*/ 195 h 367"/>
                  <a:gd name="T14" fmla="*/ 494 w 728"/>
                  <a:gd name="T15" fmla="*/ 82 h 367"/>
                  <a:gd name="T16" fmla="*/ 510 w 728"/>
                  <a:gd name="T17" fmla="*/ 28 h 367"/>
                  <a:gd name="T18" fmla="*/ 510 w 728"/>
                  <a:gd name="T19" fmla="*/ 0 h 367"/>
                  <a:gd name="T20" fmla="*/ 494 w 728"/>
                  <a:gd name="T21" fmla="*/ 28 h 367"/>
                  <a:gd name="T22" fmla="*/ 484 w 728"/>
                  <a:gd name="T23" fmla="*/ 0 h 367"/>
                  <a:gd name="T24" fmla="*/ 462 w 728"/>
                  <a:gd name="T25" fmla="*/ 28 h 367"/>
                  <a:gd name="T26" fmla="*/ 450 w 728"/>
                  <a:gd name="T27" fmla="*/ 0 h 367"/>
                  <a:gd name="T28" fmla="*/ 434 w 728"/>
                  <a:gd name="T29" fmla="*/ 28 h 367"/>
                  <a:gd name="T30" fmla="*/ 410 w 728"/>
                  <a:gd name="T31" fmla="*/ 104 h 367"/>
                  <a:gd name="T32" fmla="*/ 394 w 728"/>
                  <a:gd name="T33" fmla="*/ 132 h 367"/>
                  <a:gd name="T34" fmla="*/ 360 w 728"/>
                  <a:gd name="T35" fmla="*/ 104 h 367"/>
                  <a:gd name="T36" fmla="*/ 344 w 728"/>
                  <a:gd name="T37" fmla="*/ 132 h 367"/>
                  <a:gd name="T38" fmla="*/ 310 w 728"/>
                  <a:gd name="T39" fmla="*/ 104 h 367"/>
                  <a:gd name="T40" fmla="*/ 298 w 728"/>
                  <a:gd name="T41" fmla="*/ 132 h 367"/>
                  <a:gd name="T42" fmla="*/ 294 w 728"/>
                  <a:gd name="T43" fmla="*/ 0 h 367"/>
                  <a:gd name="T44" fmla="*/ 278 w 728"/>
                  <a:gd name="T45" fmla="*/ 28 h 367"/>
                  <a:gd name="T46" fmla="*/ 268 w 728"/>
                  <a:gd name="T47" fmla="*/ 0 h 367"/>
                  <a:gd name="T48" fmla="*/ 246 w 728"/>
                  <a:gd name="T49" fmla="*/ 28 h 367"/>
                  <a:gd name="T50" fmla="*/ 234 w 728"/>
                  <a:gd name="T51" fmla="*/ 0 h 367"/>
                  <a:gd name="T52" fmla="*/ 218 w 728"/>
                  <a:gd name="T53" fmla="*/ 56 h 367"/>
                  <a:gd name="T54" fmla="*/ 218 w 728"/>
                  <a:gd name="T55" fmla="*/ 82 h 367"/>
                  <a:gd name="T56" fmla="*/ 224 w 728"/>
                  <a:gd name="T57" fmla="*/ 195 h 367"/>
                  <a:gd name="T58" fmla="*/ 214 w 728"/>
                  <a:gd name="T59" fmla="*/ 166 h 367"/>
                  <a:gd name="T60" fmla="*/ 182 w 728"/>
                  <a:gd name="T61" fmla="*/ 195 h 367"/>
                  <a:gd name="T62" fmla="*/ 148 w 728"/>
                  <a:gd name="T63" fmla="*/ 166 h 367"/>
                  <a:gd name="T64" fmla="*/ 116 w 728"/>
                  <a:gd name="T65" fmla="*/ 195 h 367"/>
                  <a:gd name="T66" fmla="*/ 82 w 728"/>
                  <a:gd name="T67" fmla="*/ 166 h 367"/>
                  <a:gd name="T68" fmla="*/ 50 w 728"/>
                  <a:gd name="T69" fmla="*/ 195 h 367"/>
                  <a:gd name="T70" fmla="*/ 16 w 728"/>
                  <a:gd name="T71" fmla="*/ 166 h 367"/>
                  <a:gd name="T72" fmla="*/ 0 w 728"/>
                  <a:gd name="T73" fmla="*/ 195 h 367"/>
                  <a:gd name="T74" fmla="*/ 0 w 728"/>
                  <a:gd name="T75" fmla="*/ 367 h 367"/>
                  <a:gd name="T76" fmla="*/ 728 w 728"/>
                  <a:gd name="T77" fmla="*/ 223 h 367"/>
                  <a:gd name="T78" fmla="*/ 728 w 728"/>
                  <a:gd name="T79" fmla="*/ 16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8" h="367">
                    <a:moveTo>
                      <a:pt x="712" y="166"/>
                    </a:moveTo>
                    <a:lnTo>
                      <a:pt x="712" y="195"/>
                    </a:lnTo>
                    <a:lnTo>
                      <a:pt x="678" y="195"/>
                    </a:lnTo>
                    <a:lnTo>
                      <a:pt x="678" y="166"/>
                    </a:lnTo>
                    <a:lnTo>
                      <a:pt x="646" y="166"/>
                    </a:lnTo>
                    <a:lnTo>
                      <a:pt x="646" y="195"/>
                    </a:lnTo>
                    <a:lnTo>
                      <a:pt x="612" y="195"/>
                    </a:lnTo>
                    <a:lnTo>
                      <a:pt x="612" y="166"/>
                    </a:lnTo>
                    <a:lnTo>
                      <a:pt x="578" y="166"/>
                    </a:lnTo>
                    <a:lnTo>
                      <a:pt x="578" y="195"/>
                    </a:lnTo>
                    <a:lnTo>
                      <a:pt x="546" y="195"/>
                    </a:lnTo>
                    <a:lnTo>
                      <a:pt x="546" y="166"/>
                    </a:lnTo>
                    <a:lnTo>
                      <a:pt x="512" y="166"/>
                    </a:lnTo>
                    <a:lnTo>
                      <a:pt x="512" y="195"/>
                    </a:lnTo>
                    <a:lnTo>
                      <a:pt x="502" y="195"/>
                    </a:lnTo>
                    <a:lnTo>
                      <a:pt x="494" y="82"/>
                    </a:lnTo>
                    <a:lnTo>
                      <a:pt x="510" y="82"/>
                    </a:lnTo>
                    <a:lnTo>
                      <a:pt x="510" y="28"/>
                    </a:lnTo>
                    <a:lnTo>
                      <a:pt x="510" y="28"/>
                    </a:lnTo>
                    <a:lnTo>
                      <a:pt x="510" y="0"/>
                    </a:lnTo>
                    <a:lnTo>
                      <a:pt x="494" y="0"/>
                    </a:lnTo>
                    <a:lnTo>
                      <a:pt x="494" y="28"/>
                    </a:lnTo>
                    <a:lnTo>
                      <a:pt x="484" y="28"/>
                    </a:lnTo>
                    <a:lnTo>
                      <a:pt x="484" y="0"/>
                    </a:lnTo>
                    <a:lnTo>
                      <a:pt x="462" y="0"/>
                    </a:lnTo>
                    <a:lnTo>
                      <a:pt x="462" y="28"/>
                    </a:lnTo>
                    <a:lnTo>
                      <a:pt x="450" y="28"/>
                    </a:lnTo>
                    <a:lnTo>
                      <a:pt x="450" y="0"/>
                    </a:lnTo>
                    <a:lnTo>
                      <a:pt x="434" y="0"/>
                    </a:lnTo>
                    <a:lnTo>
                      <a:pt x="434" y="28"/>
                    </a:lnTo>
                    <a:lnTo>
                      <a:pt x="430" y="104"/>
                    </a:lnTo>
                    <a:lnTo>
                      <a:pt x="410" y="104"/>
                    </a:lnTo>
                    <a:lnTo>
                      <a:pt x="410" y="132"/>
                    </a:lnTo>
                    <a:lnTo>
                      <a:pt x="394" y="132"/>
                    </a:lnTo>
                    <a:lnTo>
                      <a:pt x="394" y="104"/>
                    </a:lnTo>
                    <a:lnTo>
                      <a:pt x="360" y="104"/>
                    </a:lnTo>
                    <a:lnTo>
                      <a:pt x="360" y="132"/>
                    </a:lnTo>
                    <a:lnTo>
                      <a:pt x="344" y="132"/>
                    </a:lnTo>
                    <a:lnTo>
                      <a:pt x="344" y="104"/>
                    </a:lnTo>
                    <a:lnTo>
                      <a:pt x="310" y="104"/>
                    </a:lnTo>
                    <a:lnTo>
                      <a:pt x="310" y="132"/>
                    </a:lnTo>
                    <a:lnTo>
                      <a:pt x="298" y="132"/>
                    </a:lnTo>
                    <a:lnTo>
                      <a:pt x="294" y="46"/>
                    </a:lnTo>
                    <a:lnTo>
                      <a:pt x="294" y="0"/>
                    </a:lnTo>
                    <a:lnTo>
                      <a:pt x="278" y="0"/>
                    </a:lnTo>
                    <a:lnTo>
                      <a:pt x="278" y="28"/>
                    </a:lnTo>
                    <a:lnTo>
                      <a:pt x="268" y="28"/>
                    </a:lnTo>
                    <a:lnTo>
                      <a:pt x="268" y="0"/>
                    </a:lnTo>
                    <a:lnTo>
                      <a:pt x="246" y="0"/>
                    </a:lnTo>
                    <a:lnTo>
                      <a:pt x="246" y="28"/>
                    </a:lnTo>
                    <a:lnTo>
                      <a:pt x="234" y="28"/>
                    </a:lnTo>
                    <a:lnTo>
                      <a:pt x="234" y="0"/>
                    </a:lnTo>
                    <a:lnTo>
                      <a:pt x="218" y="0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82"/>
                    </a:lnTo>
                    <a:lnTo>
                      <a:pt x="232" y="82"/>
                    </a:lnTo>
                    <a:lnTo>
                      <a:pt x="224" y="195"/>
                    </a:lnTo>
                    <a:lnTo>
                      <a:pt x="214" y="195"/>
                    </a:lnTo>
                    <a:lnTo>
                      <a:pt x="214" y="166"/>
                    </a:lnTo>
                    <a:lnTo>
                      <a:pt x="182" y="166"/>
                    </a:lnTo>
                    <a:lnTo>
                      <a:pt x="182" y="195"/>
                    </a:lnTo>
                    <a:lnTo>
                      <a:pt x="148" y="195"/>
                    </a:lnTo>
                    <a:lnTo>
                      <a:pt x="148" y="166"/>
                    </a:lnTo>
                    <a:lnTo>
                      <a:pt x="116" y="166"/>
                    </a:lnTo>
                    <a:lnTo>
                      <a:pt x="116" y="195"/>
                    </a:lnTo>
                    <a:lnTo>
                      <a:pt x="82" y="195"/>
                    </a:lnTo>
                    <a:lnTo>
                      <a:pt x="82" y="166"/>
                    </a:lnTo>
                    <a:lnTo>
                      <a:pt x="50" y="166"/>
                    </a:lnTo>
                    <a:lnTo>
                      <a:pt x="50" y="195"/>
                    </a:lnTo>
                    <a:lnTo>
                      <a:pt x="16" y="195"/>
                    </a:lnTo>
                    <a:lnTo>
                      <a:pt x="16" y="166"/>
                    </a:lnTo>
                    <a:lnTo>
                      <a:pt x="0" y="166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367"/>
                    </a:lnTo>
                    <a:lnTo>
                      <a:pt x="728" y="367"/>
                    </a:lnTo>
                    <a:lnTo>
                      <a:pt x="728" y="223"/>
                    </a:lnTo>
                    <a:lnTo>
                      <a:pt x="728" y="195"/>
                    </a:lnTo>
                    <a:lnTo>
                      <a:pt x="728" y="166"/>
                    </a:lnTo>
                    <a:lnTo>
                      <a:pt x="712" y="166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" name="Freeform 181"/>
              <p:cNvSpPr>
                <a:spLocks noEditPoints="1"/>
              </p:cNvSpPr>
              <p:nvPr/>
            </p:nvSpPr>
            <p:spPr bwMode="auto">
              <a:xfrm>
                <a:off x="10038139" y="6775833"/>
                <a:ext cx="257689" cy="655509"/>
              </a:xfrm>
              <a:custGeom>
                <a:avLst/>
                <a:gdLst>
                  <a:gd name="T0" fmla="*/ 256 w 274"/>
                  <a:gd name="T1" fmla="*/ 603 h 697"/>
                  <a:gd name="T2" fmla="*/ 232 w 274"/>
                  <a:gd name="T3" fmla="*/ 483 h 697"/>
                  <a:gd name="T4" fmla="*/ 200 w 274"/>
                  <a:gd name="T5" fmla="*/ 314 h 697"/>
                  <a:gd name="T6" fmla="*/ 220 w 274"/>
                  <a:gd name="T7" fmla="*/ 258 h 697"/>
                  <a:gd name="T8" fmla="*/ 220 w 274"/>
                  <a:gd name="T9" fmla="*/ 204 h 697"/>
                  <a:gd name="T10" fmla="*/ 184 w 274"/>
                  <a:gd name="T11" fmla="*/ 186 h 697"/>
                  <a:gd name="T12" fmla="*/ 208 w 274"/>
                  <a:gd name="T13" fmla="*/ 168 h 697"/>
                  <a:gd name="T14" fmla="*/ 194 w 274"/>
                  <a:gd name="T15" fmla="*/ 132 h 697"/>
                  <a:gd name="T16" fmla="*/ 194 w 274"/>
                  <a:gd name="T17" fmla="*/ 132 h 697"/>
                  <a:gd name="T18" fmla="*/ 190 w 274"/>
                  <a:gd name="T19" fmla="*/ 110 h 697"/>
                  <a:gd name="T20" fmla="*/ 182 w 274"/>
                  <a:gd name="T21" fmla="*/ 92 h 697"/>
                  <a:gd name="T22" fmla="*/ 168 w 274"/>
                  <a:gd name="T23" fmla="*/ 78 h 697"/>
                  <a:gd name="T24" fmla="*/ 152 w 274"/>
                  <a:gd name="T25" fmla="*/ 70 h 697"/>
                  <a:gd name="T26" fmla="*/ 144 w 274"/>
                  <a:gd name="T27" fmla="*/ 48 h 697"/>
                  <a:gd name="T28" fmla="*/ 136 w 274"/>
                  <a:gd name="T29" fmla="*/ 0 h 697"/>
                  <a:gd name="T30" fmla="*/ 128 w 274"/>
                  <a:gd name="T31" fmla="*/ 48 h 697"/>
                  <a:gd name="T32" fmla="*/ 128 w 274"/>
                  <a:gd name="T33" fmla="*/ 70 h 697"/>
                  <a:gd name="T34" fmla="*/ 112 w 274"/>
                  <a:gd name="T35" fmla="*/ 78 h 697"/>
                  <a:gd name="T36" fmla="*/ 100 w 274"/>
                  <a:gd name="T37" fmla="*/ 92 h 697"/>
                  <a:gd name="T38" fmla="*/ 92 w 274"/>
                  <a:gd name="T39" fmla="*/ 110 h 697"/>
                  <a:gd name="T40" fmla="*/ 88 w 274"/>
                  <a:gd name="T41" fmla="*/ 132 h 697"/>
                  <a:gd name="T42" fmla="*/ 86 w 274"/>
                  <a:gd name="T43" fmla="*/ 168 h 697"/>
                  <a:gd name="T44" fmla="*/ 72 w 274"/>
                  <a:gd name="T45" fmla="*/ 186 h 697"/>
                  <a:gd name="T46" fmla="*/ 96 w 274"/>
                  <a:gd name="T47" fmla="*/ 204 h 697"/>
                  <a:gd name="T48" fmla="*/ 62 w 274"/>
                  <a:gd name="T49" fmla="*/ 258 h 697"/>
                  <a:gd name="T50" fmla="*/ 58 w 274"/>
                  <a:gd name="T51" fmla="*/ 258 h 697"/>
                  <a:gd name="T52" fmla="*/ 70 w 274"/>
                  <a:gd name="T53" fmla="*/ 483 h 697"/>
                  <a:gd name="T54" fmla="*/ 36 w 274"/>
                  <a:gd name="T55" fmla="*/ 603 h 697"/>
                  <a:gd name="T56" fmla="*/ 0 w 274"/>
                  <a:gd name="T57" fmla="*/ 647 h 697"/>
                  <a:gd name="T58" fmla="*/ 20 w 274"/>
                  <a:gd name="T59" fmla="*/ 697 h 697"/>
                  <a:gd name="T60" fmla="*/ 120 w 274"/>
                  <a:gd name="T61" fmla="*/ 258 h 697"/>
                  <a:gd name="T62" fmla="*/ 158 w 274"/>
                  <a:gd name="T63" fmla="*/ 212 h 697"/>
                  <a:gd name="T64" fmla="*/ 120 w 274"/>
                  <a:gd name="T65" fmla="*/ 258 h 697"/>
                  <a:gd name="T66" fmla="*/ 212 w 274"/>
                  <a:gd name="T67" fmla="*/ 258 h 697"/>
                  <a:gd name="T68" fmla="*/ 184 w 274"/>
                  <a:gd name="T69" fmla="*/ 258 h 697"/>
                  <a:gd name="T70" fmla="*/ 212 w 274"/>
                  <a:gd name="T71" fmla="*/ 212 h 697"/>
                  <a:gd name="T72" fmla="*/ 128 w 274"/>
                  <a:gd name="T73" fmla="*/ 168 h 697"/>
                  <a:gd name="T74" fmla="*/ 114 w 274"/>
                  <a:gd name="T75" fmla="*/ 140 h 697"/>
                  <a:gd name="T76" fmla="*/ 136 w 274"/>
                  <a:gd name="T77" fmla="*/ 140 h 697"/>
                  <a:gd name="T78" fmla="*/ 146 w 274"/>
                  <a:gd name="T79" fmla="*/ 168 h 697"/>
                  <a:gd name="T80" fmla="*/ 136 w 274"/>
                  <a:gd name="T81" fmla="*/ 140 h 697"/>
                  <a:gd name="T82" fmla="*/ 166 w 274"/>
                  <a:gd name="T83" fmla="*/ 140 h 697"/>
                  <a:gd name="T84" fmla="*/ 154 w 274"/>
                  <a:gd name="T85" fmla="*/ 168 h 697"/>
                  <a:gd name="T86" fmla="*/ 174 w 274"/>
                  <a:gd name="T87" fmla="*/ 168 h 697"/>
                  <a:gd name="T88" fmla="*/ 186 w 274"/>
                  <a:gd name="T89" fmla="*/ 140 h 697"/>
                  <a:gd name="T90" fmla="*/ 174 w 274"/>
                  <a:gd name="T91" fmla="*/ 168 h 697"/>
                  <a:gd name="T92" fmla="*/ 94 w 274"/>
                  <a:gd name="T93" fmla="*/ 140 h 697"/>
                  <a:gd name="T94" fmla="*/ 106 w 274"/>
                  <a:gd name="T95" fmla="*/ 168 h 697"/>
                  <a:gd name="T96" fmla="*/ 120 w 274"/>
                  <a:gd name="T97" fmla="*/ 186 h 697"/>
                  <a:gd name="T98" fmla="*/ 158 w 274"/>
                  <a:gd name="T99" fmla="*/ 204 h 697"/>
                  <a:gd name="T100" fmla="*/ 120 w 274"/>
                  <a:gd name="T101" fmla="*/ 186 h 697"/>
                  <a:gd name="T102" fmla="*/ 70 w 274"/>
                  <a:gd name="T103" fmla="*/ 258 h 697"/>
                  <a:gd name="T104" fmla="*/ 96 w 274"/>
                  <a:gd name="T105" fmla="*/ 212 h 697"/>
                  <a:gd name="T106" fmla="*/ 70 w 274"/>
                  <a:gd name="T107" fmla="*/ 258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697">
                    <a:moveTo>
                      <a:pt x="274" y="697"/>
                    </a:moveTo>
                    <a:lnTo>
                      <a:pt x="256" y="603"/>
                    </a:lnTo>
                    <a:lnTo>
                      <a:pt x="248" y="603"/>
                    </a:lnTo>
                    <a:lnTo>
                      <a:pt x="232" y="483"/>
                    </a:lnTo>
                    <a:lnTo>
                      <a:pt x="220" y="483"/>
                    </a:lnTo>
                    <a:lnTo>
                      <a:pt x="200" y="314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04"/>
                    </a:lnTo>
                    <a:lnTo>
                      <a:pt x="184" y="204"/>
                    </a:lnTo>
                    <a:lnTo>
                      <a:pt x="184" y="186"/>
                    </a:lnTo>
                    <a:lnTo>
                      <a:pt x="208" y="186"/>
                    </a:lnTo>
                    <a:lnTo>
                      <a:pt x="208" y="168"/>
                    </a:lnTo>
                    <a:lnTo>
                      <a:pt x="194" y="168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2" y="120"/>
                    </a:lnTo>
                    <a:lnTo>
                      <a:pt x="190" y="110"/>
                    </a:lnTo>
                    <a:lnTo>
                      <a:pt x="186" y="100"/>
                    </a:lnTo>
                    <a:lnTo>
                      <a:pt x="182" y="92"/>
                    </a:lnTo>
                    <a:lnTo>
                      <a:pt x="176" y="84"/>
                    </a:lnTo>
                    <a:lnTo>
                      <a:pt x="168" y="78"/>
                    </a:lnTo>
                    <a:lnTo>
                      <a:pt x="160" y="74"/>
                    </a:lnTo>
                    <a:lnTo>
                      <a:pt x="152" y="70"/>
                    </a:lnTo>
                    <a:lnTo>
                      <a:pt x="152" y="48"/>
                    </a:lnTo>
                    <a:lnTo>
                      <a:pt x="144" y="48"/>
                    </a:lnTo>
                    <a:lnTo>
                      <a:pt x="144" y="0"/>
                    </a:lnTo>
                    <a:lnTo>
                      <a:pt x="136" y="0"/>
                    </a:lnTo>
                    <a:lnTo>
                      <a:pt x="136" y="48"/>
                    </a:lnTo>
                    <a:lnTo>
                      <a:pt x="128" y="48"/>
                    </a:lnTo>
                    <a:lnTo>
                      <a:pt x="128" y="70"/>
                    </a:lnTo>
                    <a:lnTo>
                      <a:pt x="128" y="70"/>
                    </a:lnTo>
                    <a:lnTo>
                      <a:pt x="120" y="74"/>
                    </a:lnTo>
                    <a:lnTo>
                      <a:pt x="112" y="78"/>
                    </a:lnTo>
                    <a:lnTo>
                      <a:pt x="106" y="84"/>
                    </a:lnTo>
                    <a:lnTo>
                      <a:pt x="100" y="92"/>
                    </a:lnTo>
                    <a:lnTo>
                      <a:pt x="94" y="100"/>
                    </a:lnTo>
                    <a:lnTo>
                      <a:pt x="92" y="110"/>
                    </a:lnTo>
                    <a:lnTo>
                      <a:pt x="88" y="12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68"/>
                    </a:lnTo>
                    <a:lnTo>
                      <a:pt x="72" y="168"/>
                    </a:lnTo>
                    <a:lnTo>
                      <a:pt x="72" y="186"/>
                    </a:lnTo>
                    <a:lnTo>
                      <a:pt x="96" y="186"/>
                    </a:lnTo>
                    <a:lnTo>
                      <a:pt x="96" y="204"/>
                    </a:lnTo>
                    <a:lnTo>
                      <a:pt x="62" y="204"/>
                    </a:lnTo>
                    <a:lnTo>
                      <a:pt x="62" y="258"/>
                    </a:lnTo>
                    <a:lnTo>
                      <a:pt x="62" y="258"/>
                    </a:lnTo>
                    <a:lnTo>
                      <a:pt x="58" y="258"/>
                    </a:lnTo>
                    <a:lnTo>
                      <a:pt x="84" y="314"/>
                    </a:lnTo>
                    <a:lnTo>
                      <a:pt x="70" y="483"/>
                    </a:lnTo>
                    <a:lnTo>
                      <a:pt x="56" y="483"/>
                    </a:lnTo>
                    <a:lnTo>
                      <a:pt x="36" y="603"/>
                    </a:lnTo>
                    <a:lnTo>
                      <a:pt x="0" y="603"/>
                    </a:lnTo>
                    <a:lnTo>
                      <a:pt x="0" y="647"/>
                    </a:lnTo>
                    <a:lnTo>
                      <a:pt x="20" y="647"/>
                    </a:lnTo>
                    <a:lnTo>
                      <a:pt x="20" y="697"/>
                    </a:lnTo>
                    <a:lnTo>
                      <a:pt x="274" y="697"/>
                    </a:lnTo>
                    <a:close/>
                    <a:moveTo>
                      <a:pt x="120" y="258"/>
                    </a:moveTo>
                    <a:lnTo>
                      <a:pt x="120" y="212"/>
                    </a:lnTo>
                    <a:lnTo>
                      <a:pt x="158" y="212"/>
                    </a:lnTo>
                    <a:lnTo>
                      <a:pt x="158" y="258"/>
                    </a:lnTo>
                    <a:lnTo>
                      <a:pt x="120" y="258"/>
                    </a:lnTo>
                    <a:close/>
                    <a:moveTo>
                      <a:pt x="212" y="212"/>
                    </a:moveTo>
                    <a:lnTo>
                      <a:pt x="212" y="258"/>
                    </a:lnTo>
                    <a:lnTo>
                      <a:pt x="212" y="258"/>
                    </a:lnTo>
                    <a:lnTo>
                      <a:pt x="184" y="258"/>
                    </a:lnTo>
                    <a:lnTo>
                      <a:pt x="184" y="212"/>
                    </a:lnTo>
                    <a:lnTo>
                      <a:pt x="212" y="212"/>
                    </a:lnTo>
                    <a:close/>
                    <a:moveTo>
                      <a:pt x="128" y="140"/>
                    </a:moveTo>
                    <a:lnTo>
                      <a:pt x="128" y="168"/>
                    </a:lnTo>
                    <a:lnTo>
                      <a:pt x="114" y="168"/>
                    </a:lnTo>
                    <a:lnTo>
                      <a:pt x="114" y="140"/>
                    </a:lnTo>
                    <a:lnTo>
                      <a:pt x="128" y="140"/>
                    </a:lnTo>
                    <a:close/>
                    <a:moveTo>
                      <a:pt x="136" y="140"/>
                    </a:moveTo>
                    <a:lnTo>
                      <a:pt x="146" y="140"/>
                    </a:lnTo>
                    <a:lnTo>
                      <a:pt x="146" y="168"/>
                    </a:lnTo>
                    <a:lnTo>
                      <a:pt x="136" y="168"/>
                    </a:lnTo>
                    <a:lnTo>
                      <a:pt x="136" y="140"/>
                    </a:lnTo>
                    <a:close/>
                    <a:moveTo>
                      <a:pt x="154" y="140"/>
                    </a:moveTo>
                    <a:lnTo>
                      <a:pt x="166" y="140"/>
                    </a:lnTo>
                    <a:lnTo>
                      <a:pt x="166" y="168"/>
                    </a:lnTo>
                    <a:lnTo>
                      <a:pt x="154" y="168"/>
                    </a:lnTo>
                    <a:lnTo>
                      <a:pt x="154" y="140"/>
                    </a:lnTo>
                    <a:close/>
                    <a:moveTo>
                      <a:pt x="174" y="168"/>
                    </a:moveTo>
                    <a:lnTo>
                      <a:pt x="174" y="140"/>
                    </a:lnTo>
                    <a:lnTo>
                      <a:pt x="186" y="140"/>
                    </a:lnTo>
                    <a:lnTo>
                      <a:pt x="186" y="168"/>
                    </a:lnTo>
                    <a:lnTo>
                      <a:pt x="174" y="168"/>
                    </a:lnTo>
                    <a:close/>
                    <a:moveTo>
                      <a:pt x="94" y="168"/>
                    </a:moveTo>
                    <a:lnTo>
                      <a:pt x="94" y="140"/>
                    </a:lnTo>
                    <a:lnTo>
                      <a:pt x="106" y="140"/>
                    </a:lnTo>
                    <a:lnTo>
                      <a:pt x="106" y="168"/>
                    </a:lnTo>
                    <a:lnTo>
                      <a:pt x="94" y="168"/>
                    </a:lnTo>
                    <a:close/>
                    <a:moveTo>
                      <a:pt x="120" y="186"/>
                    </a:moveTo>
                    <a:lnTo>
                      <a:pt x="158" y="186"/>
                    </a:lnTo>
                    <a:lnTo>
                      <a:pt x="158" y="204"/>
                    </a:lnTo>
                    <a:lnTo>
                      <a:pt x="120" y="204"/>
                    </a:lnTo>
                    <a:lnTo>
                      <a:pt x="120" y="186"/>
                    </a:lnTo>
                    <a:close/>
                    <a:moveTo>
                      <a:pt x="70" y="258"/>
                    </a:moveTo>
                    <a:lnTo>
                      <a:pt x="70" y="258"/>
                    </a:lnTo>
                    <a:lnTo>
                      <a:pt x="70" y="212"/>
                    </a:lnTo>
                    <a:lnTo>
                      <a:pt x="96" y="212"/>
                    </a:lnTo>
                    <a:lnTo>
                      <a:pt x="96" y="258"/>
                    </a:lnTo>
                    <a:lnTo>
                      <a:pt x="70" y="25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" name="Freeform 187"/>
              <p:cNvSpPr>
                <a:spLocks/>
              </p:cNvSpPr>
              <p:nvPr/>
            </p:nvSpPr>
            <p:spPr bwMode="auto">
              <a:xfrm>
                <a:off x="11715512" y="6769338"/>
                <a:ext cx="329892" cy="632054"/>
              </a:xfrm>
              <a:custGeom>
                <a:avLst/>
                <a:gdLst>
                  <a:gd name="T0" fmla="*/ 335 w 345"/>
                  <a:gd name="T1" fmla="*/ 619 h 661"/>
                  <a:gd name="T2" fmla="*/ 329 w 345"/>
                  <a:gd name="T3" fmla="*/ 597 h 661"/>
                  <a:gd name="T4" fmla="*/ 321 w 345"/>
                  <a:gd name="T5" fmla="*/ 599 h 661"/>
                  <a:gd name="T6" fmla="*/ 319 w 345"/>
                  <a:gd name="T7" fmla="*/ 609 h 661"/>
                  <a:gd name="T8" fmla="*/ 313 w 345"/>
                  <a:gd name="T9" fmla="*/ 577 h 661"/>
                  <a:gd name="T10" fmla="*/ 305 w 345"/>
                  <a:gd name="T11" fmla="*/ 575 h 661"/>
                  <a:gd name="T12" fmla="*/ 303 w 345"/>
                  <a:gd name="T13" fmla="*/ 583 h 661"/>
                  <a:gd name="T14" fmla="*/ 297 w 345"/>
                  <a:gd name="T15" fmla="*/ 563 h 661"/>
                  <a:gd name="T16" fmla="*/ 291 w 345"/>
                  <a:gd name="T17" fmla="*/ 561 h 661"/>
                  <a:gd name="T18" fmla="*/ 285 w 345"/>
                  <a:gd name="T19" fmla="*/ 583 h 661"/>
                  <a:gd name="T20" fmla="*/ 217 w 345"/>
                  <a:gd name="T21" fmla="*/ 232 h 661"/>
                  <a:gd name="T22" fmla="*/ 211 w 345"/>
                  <a:gd name="T23" fmla="*/ 214 h 661"/>
                  <a:gd name="T24" fmla="*/ 207 w 345"/>
                  <a:gd name="T25" fmla="*/ 130 h 661"/>
                  <a:gd name="T26" fmla="*/ 197 w 345"/>
                  <a:gd name="T27" fmla="*/ 96 h 661"/>
                  <a:gd name="T28" fmla="*/ 195 w 345"/>
                  <a:gd name="T29" fmla="*/ 86 h 661"/>
                  <a:gd name="T30" fmla="*/ 195 w 345"/>
                  <a:gd name="T31" fmla="*/ 72 h 661"/>
                  <a:gd name="T32" fmla="*/ 255 w 345"/>
                  <a:gd name="T33" fmla="*/ 56 h 661"/>
                  <a:gd name="T34" fmla="*/ 269 w 345"/>
                  <a:gd name="T35" fmla="*/ 54 h 661"/>
                  <a:gd name="T36" fmla="*/ 281 w 345"/>
                  <a:gd name="T37" fmla="*/ 52 h 661"/>
                  <a:gd name="T38" fmla="*/ 293 w 345"/>
                  <a:gd name="T39" fmla="*/ 48 h 661"/>
                  <a:gd name="T40" fmla="*/ 283 w 345"/>
                  <a:gd name="T41" fmla="*/ 40 h 661"/>
                  <a:gd name="T42" fmla="*/ 279 w 345"/>
                  <a:gd name="T43" fmla="*/ 36 h 661"/>
                  <a:gd name="T44" fmla="*/ 263 w 345"/>
                  <a:gd name="T45" fmla="*/ 40 h 661"/>
                  <a:gd name="T46" fmla="*/ 225 w 345"/>
                  <a:gd name="T47" fmla="*/ 44 h 661"/>
                  <a:gd name="T48" fmla="*/ 211 w 345"/>
                  <a:gd name="T49" fmla="*/ 38 h 661"/>
                  <a:gd name="T50" fmla="*/ 201 w 345"/>
                  <a:gd name="T51" fmla="*/ 36 h 661"/>
                  <a:gd name="T52" fmla="*/ 191 w 345"/>
                  <a:gd name="T53" fmla="*/ 20 h 661"/>
                  <a:gd name="T54" fmla="*/ 187 w 345"/>
                  <a:gd name="T55" fmla="*/ 6 h 661"/>
                  <a:gd name="T56" fmla="*/ 173 w 345"/>
                  <a:gd name="T57" fmla="*/ 0 h 661"/>
                  <a:gd name="T58" fmla="*/ 158 w 345"/>
                  <a:gd name="T59" fmla="*/ 8 h 661"/>
                  <a:gd name="T60" fmla="*/ 154 w 345"/>
                  <a:gd name="T61" fmla="*/ 24 h 661"/>
                  <a:gd name="T62" fmla="*/ 146 w 345"/>
                  <a:gd name="T63" fmla="*/ 36 h 661"/>
                  <a:gd name="T64" fmla="*/ 136 w 345"/>
                  <a:gd name="T65" fmla="*/ 38 h 661"/>
                  <a:gd name="T66" fmla="*/ 122 w 345"/>
                  <a:gd name="T67" fmla="*/ 44 h 661"/>
                  <a:gd name="T68" fmla="*/ 84 w 345"/>
                  <a:gd name="T69" fmla="*/ 40 h 661"/>
                  <a:gd name="T70" fmla="*/ 68 w 345"/>
                  <a:gd name="T71" fmla="*/ 36 h 661"/>
                  <a:gd name="T72" fmla="*/ 64 w 345"/>
                  <a:gd name="T73" fmla="*/ 40 h 661"/>
                  <a:gd name="T74" fmla="*/ 54 w 345"/>
                  <a:gd name="T75" fmla="*/ 48 h 661"/>
                  <a:gd name="T76" fmla="*/ 66 w 345"/>
                  <a:gd name="T77" fmla="*/ 52 h 661"/>
                  <a:gd name="T78" fmla="*/ 78 w 345"/>
                  <a:gd name="T79" fmla="*/ 54 h 661"/>
                  <a:gd name="T80" fmla="*/ 90 w 345"/>
                  <a:gd name="T81" fmla="*/ 56 h 661"/>
                  <a:gd name="T82" fmla="*/ 150 w 345"/>
                  <a:gd name="T83" fmla="*/ 72 h 661"/>
                  <a:gd name="T84" fmla="*/ 152 w 345"/>
                  <a:gd name="T85" fmla="*/ 82 h 661"/>
                  <a:gd name="T86" fmla="*/ 154 w 345"/>
                  <a:gd name="T87" fmla="*/ 84 h 661"/>
                  <a:gd name="T88" fmla="*/ 140 w 345"/>
                  <a:gd name="T89" fmla="*/ 128 h 661"/>
                  <a:gd name="T90" fmla="*/ 136 w 345"/>
                  <a:gd name="T91" fmla="*/ 184 h 661"/>
                  <a:gd name="T92" fmla="*/ 130 w 345"/>
                  <a:gd name="T93" fmla="*/ 232 h 661"/>
                  <a:gd name="T94" fmla="*/ 64 w 345"/>
                  <a:gd name="T95" fmla="*/ 583 h 661"/>
                  <a:gd name="T96" fmla="*/ 60 w 345"/>
                  <a:gd name="T97" fmla="*/ 563 h 661"/>
                  <a:gd name="T98" fmla="*/ 52 w 345"/>
                  <a:gd name="T99" fmla="*/ 561 h 661"/>
                  <a:gd name="T100" fmla="*/ 46 w 345"/>
                  <a:gd name="T101" fmla="*/ 583 h 661"/>
                  <a:gd name="T102" fmla="*/ 46 w 345"/>
                  <a:gd name="T103" fmla="*/ 589 h 661"/>
                  <a:gd name="T104" fmla="*/ 40 w 345"/>
                  <a:gd name="T105" fmla="*/ 575 h 661"/>
                  <a:gd name="T106" fmla="*/ 34 w 345"/>
                  <a:gd name="T107" fmla="*/ 577 h 661"/>
                  <a:gd name="T108" fmla="*/ 30 w 345"/>
                  <a:gd name="T109" fmla="*/ 597 h 661"/>
                  <a:gd name="T110" fmla="*/ 24 w 345"/>
                  <a:gd name="T111" fmla="*/ 599 h 661"/>
                  <a:gd name="T112" fmla="*/ 20 w 345"/>
                  <a:gd name="T113" fmla="*/ 595 h 661"/>
                  <a:gd name="T114" fmla="*/ 16 w 345"/>
                  <a:gd name="T115" fmla="*/ 599 h 661"/>
                  <a:gd name="T116" fmla="*/ 8 w 345"/>
                  <a:gd name="T117" fmla="*/ 639 h 661"/>
                  <a:gd name="T118" fmla="*/ 345 w 345"/>
                  <a:gd name="T119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45" h="661">
                    <a:moveTo>
                      <a:pt x="337" y="639"/>
                    </a:moveTo>
                    <a:lnTo>
                      <a:pt x="337" y="639"/>
                    </a:lnTo>
                    <a:lnTo>
                      <a:pt x="335" y="619"/>
                    </a:lnTo>
                    <a:lnTo>
                      <a:pt x="329" y="599"/>
                    </a:lnTo>
                    <a:lnTo>
                      <a:pt x="329" y="599"/>
                    </a:lnTo>
                    <a:lnTo>
                      <a:pt x="329" y="597"/>
                    </a:lnTo>
                    <a:lnTo>
                      <a:pt x="325" y="595"/>
                    </a:lnTo>
                    <a:lnTo>
                      <a:pt x="323" y="597"/>
                    </a:lnTo>
                    <a:lnTo>
                      <a:pt x="321" y="599"/>
                    </a:lnTo>
                    <a:lnTo>
                      <a:pt x="321" y="599"/>
                    </a:lnTo>
                    <a:lnTo>
                      <a:pt x="319" y="609"/>
                    </a:lnTo>
                    <a:lnTo>
                      <a:pt x="319" y="609"/>
                    </a:lnTo>
                    <a:lnTo>
                      <a:pt x="317" y="593"/>
                    </a:lnTo>
                    <a:lnTo>
                      <a:pt x="313" y="577"/>
                    </a:lnTo>
                    <a:lnTo>
                      <a:pt x="313" y="577"/>
                    </a:lnTo>
                    <a:lnTo>
                      <a:pt x="311" y="575"/>
                    </a:lnTo>
                    <a:lnTo>
                      <a:pt x="309" y="575"/>
                    </a:lnTo>
                    <a:lnTo>
                      <a:pt x="305" y="575"/>
                    </a:lnTo>
                    <a:lnTo>
                      <a:pt x="305" y="577"/>
                    </a:lnTo>
                    <a:lnTo>
                      <a:pt x="305" y="577"/>
                    </a:lnTo>
                    <a:lnTo>
                      <a:pt x="303" y="583"/>
                    </a:lnTo>
                    <a:lnTo>
                      <a:pt x="303" y="583"/>
                    </a:lnTo>
                    <a:lnTo>
                      <a:pt x="297" y="563"/>
                    </a:lnTo>
                    <a:lnTo>
                      <a:pt x="297" y="563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1" y="561"/>
                    </a:lnTo>
                    <a:lnTo>
                      <a:pt x="289" y="563"/>
                    </a:lnTo>
                    <a:lnTo>
                      <a:pt x="289" y="563"/>
                    </a:lnTo>
                    <a:lnTo>
                      <a:pt x="285" y="583"/>
                    </a:lnTo>
                    <a:lnTo>
                      <a:pt x="235" y="583"/>
                    </a:lnTo>
                    <a:lnTo>
                      <a:pt x="223" y="232"/>
                    </a:lnTo>
                    <a:lnTo>
                      <a:pt x="217" y="232"/>
                    </a:lnTo>
                    <a:lnTo>
                      <a:pt x="217" y="214"/>
                    </a:lnTo>
                    <a:lnTo>
                      <a:pt x="211" y="214"/>
                    </a:lnTo>
                    <a:lnTo>
                      <a:pt x="211" y="214"/>
                    </a:lnTo>
                    <a:lnTo>
                      <a:pt x="211" y="186"/>
                    </a:lnTo>
                    <a:lnTo>
                      <a:pt x="209" y="160"/>
                    </a:lnTo>
                    <a:lnTo>
                      <a:pt x="207" y="130"/>
                    </a:lnTo>
                    <a:lnTo>
                      <a:pt x="207" y="130"/>
                    </a:lnTo>
                    <a:lnTo>
                      <a:pt x="201" y="108"/>
                    </a:lnTo>
                    <a:lnTo>
                      <a:pt x="197" y="96"/>
                    </a:lnTo>
                    <a:lnTo>
                      <a:pt x="193" y="86"/>
                    </a:lnTo>
                    <a:lnTo>
                      <a:pt x="193" y="86"/>
                    </a:lnTo>
                    <a:lnTo>
                      <a:pt x="195" y="86"/>
                    </a:lnTo>
                    <a:lnTo>
                      <a:pt x="195" y="84"/>
                    </a:lnTo>
                    <a:lnTo>
                      <a:pt x="195" y="72"/>
                    </a:lnTo>
                    <a:lnTo>
                      <a:pt x="195" y="72"/>
                    </a:lnTo>
                    <a:lnTo>
                      <a:pt x="223" y="66"/>
                    </a:lnTo>
                    <a:lnTo>
                      <a:pt x="247" y="60"/>
                    </a:lnTo>
                    <a:lnTo>
                      <a:pt x="255" y="56"/>
                    </a:lnTo>
                    <a:lnTo>
                      <a:pt x="263" y="52"/>
                    </a:lnTo>
                    <a:lnTo>
                      <a:pt x="263" y="52"/>
                    </a:lnTo>
                    <a:lnTo>
                      <a:pt x="269" y="54"/>
                    </a:lnTo>
                    <a:lnTo>
                      <a:pt x="275" y="54"/>
                    </a:lnTo>
                    <a:lnTo>
                      <a:pt x="281" y="52"/>
                    </a:lnTo>
                    <a:lnTo>
                      <a:pt x="281" y="52"/>
                    </a:lnTo>
                    <a:lnTo>
                      <a:pt x="293" y="50"/>
                    </a:lnTo>
                    <a:lnTo>
                      <a:pt x="293" y="50"/>
                    </a:lnTo>
                    <a:lnTo>
                      <a:pt x="293" y="48"/>
                    </a:lnTo>
                    <a:lnTo>
                      <a:pt x="293" y="44"/>
                    </a:lnTo>
                    <a:lnTo>
                      <a:pt x="291" y="42"/>
                    </a:lnTo>
                    <a:lnTo>
                      <a:pt x="283" y="40"/>
                    </a:lnTo>
                    <a:lnTo>
                      <a:pt x="283" y="40"/>
                    </a:lnTo>
                    <a:lnTo>
                      <a:pt x="281" y="36"/>
                    </a:lnTo>
                    <a:lnTo>
                      <a:pt x="279" y="36"/>
                    </a:lnTo>
                    <a:lnTo>
                      <a:pt x="273" y="38"/>
                    </a:lnTo>
                    <a:lnTo>
                      <a:pt x="273" y="38"/>
                    </a:lnTo>
                    <a:lnTo>
                      <a:pt x="263" y="40"/>
                    </a:lnTo>
                    <a:lnTo>
                      <a:pt x="263" y="40"/>
                    </a:lnTo>
                    <a:lnTo>
                      <a:pt x="241" y="42"/>
                    </a:lnTo>
                    <a:lnTo>
                      <a:pt x="225" y="44"/>
                    </a:lnTo>
                    <a:lnTo>
                      <a:pt x="215" y="42"/>
                    </a:lnTo>
                    <a:lnTo>
                      <a:pt x="215" y="42"/>
                    </a:lnTo>
                    <a:lnTo>
                      <a:pt x="211" y="38"/>
                    </a:lnTo>
                    <a:lnTo>
                      <a:pt x="207" y="36"/>
                    </a:lnTo>
                    <a:lnTo>
                      <a:pt x="201" y="36"/>
                    </a:lnTo>
                    <a:lnTo>
                      <a:pt x="201" y="36"/>
                    </a:lnTo>
                    <a:lnTo>
                      <a:pt x="191" y="36"/>
                    </a:lnTo>
                    <a:lnTo>
                      <a:pt x="191" y="36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91" y="12"/>
                    </a:lnTo>
                    <a:lnTo>
                      <a:pt x="187" y="6"/>
                    </a:lnTo>
                    <a:lnTo>
                      <a:pt x="181" y="2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68" y="0"/>
                    </a:lnTo>
                    <a:lnTo>
                      <a:pt x="164" y="2"/>
                    </a:lnTo>
                    <a:lnTo>
                      <a:pt x="158" y="8"/>
                    </a:lnTo>
                    <a:lnTo>
                      <a:pt x="156" y="14"/>
                    </a:lnTo>
                    <a:lnTo>
                      <a:pt x="154" y="24"/>
                    </a:lnTo>
                    <a:lnTo>
                      <a:pt x="154" y="24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0" y="36"/>
                    </a:lnTo>
                    <a:lnTo>
                      <a:pt x="136" y="38"/>
                    </a:lnTo>
                    <a:lnTo>
                      <a:pt x="130" y="42"/>
                    </a:lnTo>
                    <a:lnTo>
                      <a:pt x="130" y="42"/>
                    </a:lnTo>
                    <a:lnTo>
                      <a:pt x="122" y="44"/>
                    </a:lnTo>
                    <a:lnTo>
                      <a:pt x="106" y="42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56" y="42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90" y="56"/>
                    </a:lnTo>
                    <a:lnTo>
                      <a:pt x="100" y="60"/>
                    </a:lnTo>
                    <a:lnTo>
                      <a:pt x="122" y="66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2" y="82"/>
                    </a:lnTo>
                    <a:lnTo>
                      <a:pt x="152" y="84"/>
                    </a:lnTo>
                    <a:lnTo>
                      <a:pt x="154" y="84"/>
                    </a:lnTo>
                    <a:lnTo>
                      <a:pt x="154" y="84"/>
                    </a:lnTo>
                    <a:lnTo>
                      <a:pt x="148" y="94"/>
                    </a:lnTo>
                    <a:lnTo>
                      <a:pt x="144" y="106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6" y="156"/>
                    </a:lnTo>
                    <a:lnTo>
                      <a:pt x="136" y="184"/>
                    </a:lnTo>
                    <a:lnTo>
                      <a:pt x="136" y="214"/>
                    </a:lnTo>
                    <a:lnTo>
                      <a:pt x="130" y="214"/>
                    </a:lnTo>
                    <a:lnTo>
                      <a:pt x="130" y="232"/>
                    </a:lnTo>
                    <a:lnTo>
                      <a:pt x="120" y="232"/>
                    </a:lnTo>
                    <a:lnTo>
                      <a:pt x="114" y="583"/>
                    </a:lnTo>
                    <a:lnTo>
                      <a:pt x="64" y="583"/>
                    </a:lnTo>
                    <a:lnTo>
                      <a:pt x="64" y="583"/>
                    </a:lnTo>
                    <a:lnTo>
                      <a:pt x="60" y="563"/>
                    </a:lnTo>
                    <a:lnTo>
                      <a:pt x="60" y="563"/>
                    </a:lnTo>
                    <a:lnTo>
                      <a:pt x="58" y="561"/>
                    </a:lnTo>
                    <a:lnTo>
                      <a:pt x="56" y="561"/>
                    </a:lnTo>
                    <a:lnTo>
                      <a:pt x="52" y="561"/>
                    </a:lnTo>
                    <a:lnTo>
                      <a:pt x="52" y="563"/>
                    </a:lnTo>
                    <a:lnTo>
                      <a:pt x="52" y="563"/>
                    </a:lnTo>
                    <a:lnTo>
                      <a:pt x="46" y="583"/>
                    </a:lnTo>
                    <a:lnTo>
                      <a:pt x="46" y="583"/>
                    </a:lnTo>
                    <a:lnTo>
                      <a:pt x="46" y="589"/>
                    </a:lnTo>
                    <a:lnTo>
                      <a:pt x="46" y="589"/>
                    </a:lnTo>
                    <a:lnTo>
                      <a:pt x="42" y="577"/>
                    </a:lnTo>
                    <a:lnTo>
                      <a:pt x="42" y="577"/>
                    </a:lnTo>
                    <a:lnTo>
                      <a:pt x="40" y="575"/>
                    </a:lnTo>
                    <a:lnTo>
                      <a:pt x="38" y="575"/>
                    </a:lnTo>
                    <a:lnTo>
                      <a:pt x="36" y="575"/>
                    </a:lnTo>
                    <a:lnTo>
                      <a:pt x="34" y="577"/>
                    </a:lnTo>
                    <a:lnTo>
                      <a:pt x="34" y="577"/>
                    </a:lnTo>
                    <a:lnTo>
                      <a:pt x="30" y="597"/>
                    </a:lnTo>
                    <a:lnTo>
                      <a:pt x="30" y="597"/>
                    </a:lnTo>
                    <a:lnTo>
                      <a:pt x="28" y="609"/>
                    </a:lnTo>
                    <a:lnTo>
                      <a:pt x="28" y="609"/>
                    </a:lnTo>
                    <a:lnTo>
                      <a:pt x="24" y="599"/>
                    </a:lnTo>
                    <a:lnTo>
                      <a:pt x="24" y="599"/>
                    </a:lnTo>
                    <a:lnTo>
                      <a:pt x="24" y="597"/>
                    </a:lnTo>
                    <a:lnTo>
                      <a:pt x="20" y="595"/>
                    </a:lnTo>
                    <a:lnTo>
                      <a:pt x="18" y="597"/>
                    </a:lnTo>
                    <a:lnTo>
                      <a:pt x="16" y="599"/>
                    </a:lnTo>
                    <a:lnTo>
                      <a:pt x="16" y="599"/>
                    </a:lnTo>
                    <a:lnTo>
                      <a:pt x="12" y="619"/>
                    </a:lnTo>
                    <a:lnTo>
                      <a:pt x="12" y="619"/>
                    </a:lnTo>
                    <a:lnTo>
                      <a:pt x="8" y="639"/>
                    </a:lnTo>
                    <a:lnTo>
                      <a:pt x="0" y="639"/>
                    </a:lnTo>
                    <a:lnTo>
                      <a:pt x="0" y="661"/>
                    </a:lnTo>
                    <a:lnTo>
                      <a:pt x="345" y="661"/>
                    </a:lnTo>
                    <a:lnTo>
                      <a:pt x="345" y="639"/>
                    </a:lnTo>
                    <a:lnTo>
                      <a:pt x="337" y="639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" name="Freeform 191"/>
              <p:cNvSpPr>
                <a:spLocks/>
              </p:cNvSpPr>
              <p:nvPr/>
            </p:nvSpPr>
            <p:spPr bwMode="auto">
              <a:xfrm>
                <a:off x="5421891" y="6800691"/>
                <a:ext cx="1283569" cy="610127"/>
              </a:xfrm>
              <a:custGeom>
                <a:avLst/>
                <a:gdLst>
                  <a:gd name="T0" fmla="*/ 42 w 892"/>
                  <a:gd name="T1" fmla="*/ 424 h 424"/>
                  <a:gd name="T2" fmla="*/ 40 w 892"/>
                  <a:gd name="T3" fmla="*/ 424 h 424"/>
                  <a:gd name="T4" fmla="*/ 6 w 892"/>
                  <a:gd name="T5" fmla="*/ 400 h 424"/>
                  <a:gd name="T6" fmla="*/ 2 w 892"/>
                  <a:gd name="T7" fmla="*/ 394 h 424"/>
                  <a:gd name="T8" fmla="*/ 0 w 892"/>
                  <a:gd name="T9" fmla="*/ 386 h 424"/>
                  <a:gd name="T10" fmla="*/ 2 w 892"/>
                  <a:gd name="T11" fmla="*/ 382 h 424"/>
                  <a:gd name="T12" fmla="*/ 8 w 892"/>
                  <a:gd name="T13" fmla="*/ 376 h 424"/>
                  <a:gd name="T14" fmla="*/ 14 w 892"/>
                  <a:gd name="T15" fmla="*/ 376 h 424"/>
                  <a:gd name="T16" fmla="*/ 86 w 892"/>
                  <a:gd name="T17" fmla="*/ 360 h 424"/>
                  <a:gd name="T18" fmla="*/ 110 w 892"/>
                  <a:gd name="T19" fmla="*/ 356 h 424"/>
                  <a:gd name="T20" fmla="*/ 136 w 892"/>
                  <a:gd name="T21" fmla="*/ 350 h 424"/>
                  <a:gd name="T22" fmla="*/ 182 w 892"/>
                  <a:gd name="T23" fmla="*/ 334 h 424"/>
                  <a:gd name="T24" fmla="*/ 242 w 892"/>
                  <a:gd name="T25" fmla="*/ 304 h 424"/>
                  <a:gd name="T26" fmla="*/ 310 w 892"/>
                  <a:gd name="T27" fmla="*/ 254 h 424"/>
                  <a:gd name="T28" fmla="*/ 364 w 892"/>
                  <a:gd name="T29" fmla="*/ 198 h 424"/>
                  <a:gd name="T30" fmla="*/ 404 w 892"/>
                  <a:gd name="T31" fmla="*/ 142 h 424"/>
                  <a:gd name="T32" fmla="*/ 432 w 892"/>
                  <a:gd name="T33" fmla="*/ 94 h 424"/>
                  <a:gd name="T34" fmla="*/ 454 w 892"/>
                  <a:gd name="T35" fmla="*/ 40 h 424"/>
                  <a:gd name="T36" fmla="*/ 458 w 892"/>
                  <a:gd name="T37" fmla="*/ 28 h 424"/>
                  <a:gd name="T38" fmla="*/ 462 w 892"/>
                  <a:gd name="T39" fmla="*/ 26 h 424"/>
                  <a:gd name="T40" fmla="*/ 476 w 892"/>
                  <a:gd name="T41" fmla="*/ 22 h 424"/>
                  <a:gd name="T42" fmla="*/ 506 w 892"/>
                  <a:gd name="T43" fmla="*/ 10 h 424"/>
                  <a:gd name="T44" fmla="*/ 522 w 892"/>
                  <a:gd name="T45" fmla="*/ 0 h 424"/>
                  <a:gd name="T46" fmla="*/ 522 w 892"/>
                  <a:gd name="T47" fmla="*/ 0 h 424"/>
                  <a:gd name="T48" fmla="*/ 530 w 892"/>
                  <a:gd name="T49" fmla="*/ 2 h 424"/>
                  <a:gd name="T50" fmla="*/ 532 w 892"/>
                  <a:gd name="T51" fmla="*/ 6 h 424"/>
                  <a:gd name="T52" fmla="*/ 532 w 892"/>
                  <a:gd name="T53" fmla="*/ 10 h 424"/>
                  <a:gd name="T54" fmla="*/ 432 w 892"/>
                  <a:gd name="T55" fmla="*/ 198 h 424"/>
                  <a:gd name="T56" fmla="*/ 396 w 892"/>
                  <a:gd name="T57" fmla="*/ 282 h 424"/>
                  <a:gd name="T58" fmla="*/ 366 w 892"/>
                  <a:gd name="T59" fmla="*/ 362 h 424"/>
                  <a:gd name="T60" fmla="*/ 888 w 892"/>
                  <a:gd name="T61" fmla="*/ 392 h 424"/>
                  <a:gd name="T62" fmla="*/ 892 w 892"/>
                  <a:gd name="T63" fmla="*/ 396 h 424"/>
                  <a:gd name="T64" fmla="*/ 892 w 892"/>
                  <a:gd name="T65" fmla="*/ 420 h 424"/>
                  <a:gd name="T66" fmla="*/ 888 w 892"/>
                  <a:gd name="T67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2" h="424">
                    <a:moveTo>
                      <a:pt x="888" y="424"/>
                    </a:moveTo>
                    <a:lnTo>
                      <a:pt x="42" y="424"/>
                    </a:lnTo>
                    <a:lnTo>
                      <a:pt x="42" y="424"/>
                    </a:lnTo>
                    <a:lnTo>
                      <a:pt x="40" y="424"/>
                    </a:lnTo>
                    <a:lnTo>
                      <a:pt x="6" y="400"/>
                    </a:lnTo>
                    <a:lnTo>
                      <a:pt x="6" y="400"/>
                    </a:lnTo>
                    <a:lnTo>
                      <a:pt x="4" y="398"/>
                    </a:lnTo>
                    <a:lnTo>
                      <a:pt x="2" y="394"/>
                    </a:lnTo>
                    <a:lnTo>
                      <a:pt x="0" y="390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2" y="382"/>
                    </a:lnTo>
                    <a:lnTo>
                      <a:pt x="6" y="378"/>
                    </a:lnTo>
                    <a:lnTo>
                      <a:pt x="8" y="376"/>
                    </a:lnTo>
                    <a:lnTo>
                      <a:pt x="14" y="376"/>
                    </a:lnTo>
                    <a:lnTo>
                      <a:pt x="14" y="376"/>
                    </a:lnTo>
                    <a:lnTo>
                      <a:pt x="44" y="370"/>
                    </a:lnTo>
                    <a:lnTo>
                      <a:pt x="86" y="360"/>
                    </a:lnTo>
                    <a:lnTo>
                      <a:pt x="86" y="360"/>
                    </a:lnTo>
                    <a:lnTo>
                      <a:pt x="110" y="356"/>
                    </a:lnTo>
                    <a:lnTo>
                      <a:pt x="110" y="356"/>
                    </a:lnTo>
                    <a:lnTo>
                      <a:pt x="136" y="350"/>
                    </a:lnTo>
                    <a:lnTo>
                      <a:pt x="158" y="342"/>
                    </a:lnTo>
                    <a:lnTo>
                      <a:pt x="182" y="334"/>
                    </a:lnTo>
                    <a:lnTo>
                      <a:pt x="204" y="324"/>
                    </a:lnTo>
                    <a:lnTo>
                      <a:pt x="242" y="304"/>
                    </a:lnTo>
                    <a:lnTo>
                      <a:pt x="278" y="280"/>
                    </a:lnTo>
                    <a:lnTo>
                      <a:pt x="310" y="254"/>
                    </a:lnTo>
                    <a:lnTo>
                      <a:pt x="340" y="226"/>
                    </a:lnTo>
                    <a:lnTo>
                      <a:pt x="364" y="198"/>
                    </a:lnTo>
                    <a:lnTo>
                      <a:pt x="386" y="170"/>
                    </a:lnTo>
                    <a:lnTo>
                      <a:pt x="404" y="142"/>
                    </a:lnTo>
                    <a:lnTo>
                      <a:pt x="420" y="116"/>
                    </a:lnTo>
                    <a:lnTo>
                      <a:pt x="432" y="94"/>
                    </a:lnTo>
                    <a:lnTo>
                      <a:pt x="442" y="72"/>
                    </a:lnTo>
                    <a:lnTo>
                      <a:pt x="454" y="40"/>
                    </a:lnTo>
                    <a:lnTo>
                      <a:pt x="458" y="28"/>
                    </a:lnTo>
                    <a:lnTo>
                      <a:pt x="458" y="28"/>
                    </a:lnTo>
                    <a:lnTo>
                      <a:pt x="460" y="26"/>
                    </a:lnTo>
                    <a:lnTo>
                      <a:pt x="462" y="26"/>
                    </a:lnTo>
                    <a:lnTo>
                      <a:pt x="462" y="26"/>
                    </a:lnTo>
                    <a:lnTo>
                      <a:pt x="476" y="22"/>
                    </a:lnTo>
                    <a:lnTo>
                      <a:pt x="492" y="18"/>
                    </a:lnTo>
                    <a:lnTo>
                      <a:pt x="506" y="1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6" y="0"/>
                    </a:lnTo>
                    <a:lnTo>
                      <a:pt x="530" y="2"/>
                    </a:lnTo>
                    <a:lnTo>
                      <a:pt x="530" y="2"/>
                    </a:lnTo>
                    <a:lnTo>
                      <a:pt x="532" y="6"/>
                    </a:lnTo>
                    <a:lnTo>
                      <a:pt x="532" y="10"/>
                    </a:lnTo>
                    <a:lnTo>
                      <a:pt x="532" y="10"/>
                    </a:lnTo>
                    <a:lnTo>
                      <a:pt x="478" y="108"/>
                    </a:lnTo>
                    <a:lnTo>
                      <a:pt x="432" y="198"/>
                    </a:lnTo>
                    <a:lnTo>
                      <a:pt x="414" y="240"/>
                    </a:lnTo>
                    <a:lnTo>
                      <a:pt x="396" y="282"/>
                    </a:lnTo>
                    <a:lnTo>
                      <a:pt x="380" y="322"/>
                    </a:lnTo>
                    <a:lnTo>
                      <a:pt x="366" y="362"/>
                    </a:lnTo>
                    <a:lnTo>
                      <a:pt x="888" y="392"/>
                    </a:lnTo>
                    <a:lnTo>
                      <a:pt x="888" y="392"/>
                    </a:lnTo>
                    <a:lnTo>
                      <a:pt x="890" y="392"/>
                    </a:lnTo>
                    <a:lnTo>
                      <a:pt x="892" y="396"/>
                    </a:lnTo>
                    <a:lnTo>
                      <a:pt x="892" y="420"/>
                    </a:lnTo>
                    <a:lnTo>
                      <a:pt x="892" y="420"/>
                    </a:lnTo>
                    <a:lnTo>
                      <a:pt x="890" y="424"/>
                    </a:lnTo>
                    <a:lnTo>
                      <a:pt x="888" y="424"/>
                    </a:lnTo>
                    <a:lnTo>
                      <a:pt x="888" y="42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" name="Freeform 195"/>
              <p:cNvSpPr>
                <a:spLocks/>
              </p:cNvSpPr>
              <p:nvPr/>
            </p:nvSpPr>
            <p:spPr bwMode="auto">
              <a:xfrm>
                <a:off x="2520797" y="7026108"/>
                <a:ext cx="2101850" cy="528637"/>
              </a:xfrm>
              <a:custGeom>
                <a:avLst/>
                <a:gdLst>
                  <a:gd name="T0" fmla="*/ 1324 w 1324"/>
                  <a:gd name="T1" fmla="*/ 195 h 333"/>
                  <a:gd name="T2" fmla="*/ 1016 w 1324"/>
                  <a:gd name="T3" fmla="*/ 195 h 333"/>
                  <a:gd name="T4" fmla="*/ 1016 w 1324"/>
                  <a:gd name="T5" fmla="*/ 0 h 333"/>
                  <a:gd name="T6" fmla="*/ 980 w 1324"/>
                  <a:gd name="T7" fmla="*/ 0 h 333"/>
                  <a:gd name="T8" fmla="*/ 980 w 1324"/>
                  <a:gd name="T9" fmla="*/ 195 h 333"/>
                  <a:gd name="T10" fmla="*/ 362 w 1324"/>
                  <a:gd name="T11" fmla="*/ 195 h 333"/>
                  <a:gd name="T12" fmla="*/ 362 w 1324"/>
                  <a:gd name="T13" fmla="*/ 0 h 333"/>
                  <a:gd name="T14" fmla="*/ 328 w 1324"/>
                  <a:gd name="T15" fmla="*/ 0 h 333"/>
                  <a:gd name="T16" fmla="*/ 328 w 1324"/>
                  <a:gd name="T17" fmla="*/ 195 h 333"/>
                  <a:gd name="T18" fmla="*/ 0 w 1324"/>
                  <a:gd name="T19" fmla="*/ 195 h 333"/>
                  <a:gd name="T20" fmla="*/ 0 w 1324"/>
                  <a:gd name="T21" fmla="*/ 219 h 333"/>
                  <a:gd name="T22" fmla="*/ 328 w 1324"/>
                  <a:gd name="T23" fmla="*/ 219 h 333"/>
                  <a:gd name="T24" fmla="*/ 328 w 1324"/>
                  <a:gd name="T25" fmla="*/ 333 h 333"/>
                  <a:gd name="T26" fmla="*/ 362 w 1324"/>
                  <a:gd name="T27" fmla="*/ 333 h 333"/>
                  <a:gd name="T28" fmla="*/ 362 w 1324"/>
                  <a:gd name="T29" fmla="*/ 219 h 333"/>
                  <a:gd name="T30" fmla="*/ 980 w 1324"/>
                  <a:gd name="T31" fmla="*/ 219 h 333"/>
                  <a:gd name="T32" fmla="*/ 980 w 1324"/>
                  <a:gd name="T33" fmla="*/ 333 h 333"/>
                  <a:gd name="T34" fmla="*/ 1016 w 1324"/>
                  <a:gd name="T35" fmla="*/ 333 h 333"/>
                  <a:gd name="T36" fmla="*/ 1016 w 1324"/>
                  <a:gd name="T37" fmla="*/ 219 h 333"/>
                  <a:gd name="T38" fmla="*/ 1324 w 1324"/>
                  <a:gd name="T39" fmla="*/ 219 h 333"/>
                  <a:gd name="T40" fmla="*/ 1324 w 1324"/>
                  <a:gd name="T41" fmla="*/ 195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4" h="333">
                    <a:moveTo>
                      <a:pt x="1324" y="195"/>
                    </a:moveTo>
                    <a:lnTo>
                      <a:pt x="1016" y="195"/>
                    </a:lnTo>
                    <a:lnTo>
                      <a:pt x="1016" y="0"/>
                    </a:lnTo>
                    <a:lnTo>
                      <a:pt x="980" y="0"/>
                    </a:lnTo>
                    <a:lnTo>
                      <a:pt x="980" y="195"/>
                    </a:lnTo>
                    <a:lnTo>
                      <a:pt x="362" y="195"/>
                    </a:lnTo>
                    <a:lnTo>
                      <a:pt x="362" y="0"/>
                    </a:lnTo>
                    <a:lnTo>
                      <a:pt x="328" y="0"/>
                    </a:lnTo>
                    <a:lnTo>
                      <a:pt x="328" y="195"/>
                    </a:lnTo>
                    <a:lnTo>
                      <a:pt x="0" y="195"/>
                    </a:lnTo>
                    <a:lnTo>
                      <a:pt x="0" y="219"/>
                    </a:lnTo>
                    <a:lnTo>
                      <a:pt x="328" y="219"/>
                    </a:lnTo>
                    <a:lnTo>
                      <a:pt x="328" y="333"/>
                    </a:lnTo>
                    <a:lnTo>
                      <a:pt x="362" y="333"/>
                    </a:lnTo>
                    <a:lnTo>
                      <a:pt x="362" y="219"/>
                    </a:lnTo>
                    <a:lnTo>
                      <a:pt x="980" y="219"/>
                    </a:lnTo>
                    <a:lnTo>
                      <a:pt x="980" y="333"/>
                    </a:lnTo>
                    <a:lnTo>
                      <a:pt x="1016" y="333"/>
                    </a:lnTo>
                    <a:lnTo>
                      <a:pt x="1016" y="219"/>
                    </a:lnTo>
                    <a:lnTo>
                      <a:pt x="1324" y="219"/>
                    </a:lnTo>
                    <a:lnTo>
                      <a:pt x="1324" y="195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96"/>
              <p:cNvSpPr>
                <a:spLocks/>
              </p:cNvSpPr>
              <p:nvPr/>
            </p:nvSpPr>
            <p:spPr bwMode="auto">
              <a:xfrm>
                <a:off x="2616047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8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8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97"/>
              <p:cNvSpPr>
                <a:spLocks/>
              </p:cNvSpPr>
              <p:nvPr/>
            </p:nvSpPr>
            <p:spPr bwMode="auto">
              <a:xfrm>
                <a:off x="3066897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8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6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8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6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198"/>
              <p:cNvSpPr>
                <a:spLocks/>
              </p:cNvSpPr>
              <p:nvPr/>
            </p:nvSpPr>
            <p:spPr bwMode="auto">
              <a:xfrm>
                <a:off x="3654272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6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6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99"/>
              <p:cNvSpPr>
                <a:spLocks/>
              </p:cNvSpPr>
              <p:nvPr/>
            </p:nvSpPr>
            <p:spPr bwMode="auto">
              <a:xfrm>
                <a:off x="4105122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6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4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6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4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203"/>
              <p:cNvSpPr>
                <a:spLocks/>
              </p:cNvSpPr>
              <p:nvPr/>
            </p:nvSpPr>
            <p:spPr bwMode="auto">
              <a:xfrm>
                <a:off x="7131578" y="6831480"/>
                <a:ext cx="1268412" cy="639763"/>
              </a:xfrm>
              <a:custGeom>
                <a:avLst/>
                <a:gdLst>
                  <a:gd name="T0" fmla="*/ 769 w 799"/>
                  <a:gd name="T1" fmla="*/ 182 h 403"/>
                  <a:gd name="T2" fmla="*/ 737 w 799"/>
                  <a:gd name="T3" fmla="*/ 182 h 403"/>
                  <a:gd name="T4" fmla="*/ 696 w 799"/>
                  <a:gd name="T5" fmla="*/ 243 h 403"/>
                  <a:gd name="T6" fmla="*/ 719 w 799"/>
                  <a:gd name="T7" fmla="*/ 250 h 403"/>
                  <a:gd name="T8" fmla="*/ 681 w 799"/>
                  <a:gd name="T9" fmla="*/ 261 h 403"/>
                  <a:gd name="T10" fmla="*/ 639 w 799"/>
                  <a:gd name="T11" fmla="*/ 240 h 403"/>
                  <a:gd name="T12" fmla="*/ 606 w 799"/>
                  <a:gd name="T13" fmla="*/ 213 h 403"/>
                  <a:gd name="T14" fmla="*/ 577 w 799"/>
                  <a:gd name="T15" fmla="*/ 185 h 403"/>
                  <a:gd name="T16" fmla="*/ 517 w 799"/>
                  <a:gd name="T17" fmla="*/ 149 h 403"/>
                  <a:gd name="T18" fmla="*/ 437 w 799"/>
                  <a:gd name="T19" fmla="*/ 129 h 403"/>
                  <a:gd name="T20" fmla="*/ 452 w 799"/>
                  <a:gd name="T21" fmla="*/ 99 h 403"/>
                  <a:gd name="T22" fmla="*/ 456 w 799"/>
                  <a:gd name="T23" fmla="*/ 91 h 403"/>
                  <a:gd name="T24" fmla="*/ 460 w 799"/>
                  <a:gd name="T25" fmla="*/ 88 h 403"/>
                  <a:gd name="T26" fmla="*/ 459 w 799"/>
                  <a:gd name="T27" fmla="*/ 79 h 403"/>
                  <a:gd name="T28" fmla="*/ 444 w 799"/>
                  <a:gd name="T29" fmla="*/ 79 h 403"/>
                  <a:gd name="T30" fmla="*/ 422 w 799"/>
                  <a:gd name="T31" fmla="*/ 71 h 403"/>
                  <a:gd name="T32" fmla="*/ 411 w 799"/>
                  <a:gd name="T33" fmla="*/ 53 h 403"/>
                  <a:gd name="T34" fmla="*/ 410 w 799"/>
                  <a:gd name="T35" fmla="*/ 47 h 403"/>
                  <a:gd name="T36" fmla="*/ 404 w 799"/>
                  <a:gd name="T37" fmla="*/ 43 h 403"/>
                  <a:gd name="T38" fmla="*/ 403 w 799"/>
                  <a:gd name="T39" fmla="*/ 12 h 403"/>
                  <a:gd name="T40" fmla="*/ 406 w 799"/>
                  <a:gd name="T41" fmla="*/ 9 h 403"/>
                  <a:gd name="T42" fmla="*/ 407 w 799"/>
                  <a:gd name="T43" fmla="*/ 3 h 403"/>
                  <a:gd name="T44" fmla="*/ 403 w 799"/>
                  <a:gd name="T45" fmla="*/ 0 h 403"/>
                  <a:gd name="T46" fmla="*/ 399 w 799"/>
                  <a:gd name="T47" fmla="*/ 0 h 403"/>
                  <a:gd name="T48" fmla="*/ 395 w 799"/>
                  <a:gd name="T49" fmla="*/ 7 h 403"/>
                  <a:gd name="T50" fmla="*/ 397 w 799"/>
                  <a:gd name="T51" fmla="*/ 11 h 403"/>
                  <a:gd name="T52" fmla="*/ 400 w 799"/>
                  <a:gd name="T53" fmla="*/ 43 h 403"/>
                  <a:gd name="T54" fmla="*/ 393 w 799"/>
                  <a:gd name="T55" fmla="*/ 49 h 403"/>
                  <a:gd name="T56" fmla="*/ 392 w 799"/>
                  <a:gd name="T57" fmla="*/ 71 h 403"/>
                  <a:gd name="T58" fmla="*/ 377 w 799"/>
                  <a:gd name="T59" fmla="*/ 71 h 403"/>
                  <a:gd name="T60" fmla="*/ 351 w 799"/>
                  <a:gd name="T61" fmla="*/ 79 h 403"/>
                  <a:gd name="T62" fmla="*/ 340 w 799"/>
                  <a:gd name="T63" fmla="*/ 79 h 403"/>
                  <a:gd name="T64" fmla="*/ 339 w 799"/>
                  <a:gd name="T65" fmla="*/ 88 h 403"/>
                  <a:gd name="T66" fmla="*/ 343 w 799"/>
                  <a:gd name="T67" fmla="*/ 91 h 403"/>
                  <a:gd name="T68" fmla="*/ 351 w 799"/>
                  <a:gd name="T69" fmla="*/ 110 h 403"/>
                  <a:gd name="T70" fmla="*/ 365 w 799"/>
                  <a:gd name="T71" fmla="*/ 129 h 403"/>
                  <a:gd name="T72" fmla="*/ 308 w 799"/>
                  <a:gd name="T73" fmla="*/ 140 h 403"/>
                  <a:gd name="T74" fmla="*/ 240 w 799"/>
                  <a:gd name="T75" fmla="*/ 172 h 403"/>
                  <a:gd name="T76" fmla="*/ 191 w 799"/>
                  <a:gd name="T77" fmla="*/ 213 h 403"/>
                  <a:gd name="T78" fmla="*/ 170 w 799"/>
                  <a:gd name="T79" fmla="*/ 232 h 403"/>
                  <a:gd name="T80" fmla="*/ 121 w 799"/>
                  <a:gd name="T81" fmla="*/ 261 h 403"/>
                  <a:gd name="T82" fmla="*/ 92 w 799"/>
                  <a:gd name="T83" fmla="*/ 250 h 403"/>
                  <a:gd name="T84" fmla="*/ 103 w 799"/>
                  <a:gd name="T85" fmla="*/ 231 h 403"/>
                  <a:gd name="T86" fmla="*/ 73 w 799"/>
                  <a:gd name="T87" fmla="*/ 182 h 403"/>
                  <a:gd name="T88" fmla="*/ 41 w 799"/>
                  <a:gd name="T89" fmla="*/ 182 h 403"/>
                  <a:gd name="T90" fmla="*/ 0 w 799"/>
                  <a:gd name="T91" fmla="*/ 243 h 403"/>
                  <a:gd name="T92" fmla="*/ 19 w 799"/>
                  <a:gd name="T93" fmla="*/ 250 h 403"/>
                  <a:gd name="T94" fmla="*/ 784 w 799"/>
                  <a:gd name="T95" fmla="*/ 250 h 403"/>
                  <a:gd name="T96" fmla="*/ 799 w 799"/>
                  <a:gd name="T97" fmla="*/ 24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99" h="403">
                    <a:moveTo>
                      <a:pt x="785" y="231"/>
                    </a:moveTo>
                    <a:lnTo>
                      <a:pt x="760" y="182"/>
                    </a:lnTo>
                    <a:lnTo>
                      <a:pt x="769" y="182"/>
                    </a:lnTo>
                    <a:lnTo>
                      <a:pt x="747" y="153"/>
                    </a:lnTo>
                    <a:lnTo>
                      <a:pt x="727" y="183"/>
                    </a:lnTo>
                    <a:lnTo>
                      <a:pt x="737" y="182"/>
                    </a:lnTo>
                    <a:lnTo>
                      <a:pt x="711" y="231"/>
                    </a:lnTo>
                    <a:lnTo>
                      <a:pt x="696" y="231"/>
                    </a:lnTo>
                    <a:lnTo>
                      <a:pt x="696" y="243"/>
                    </a:lnTo>
                    <a:lnTo>
                      <a:pt x="707" y="243"/>
                    </a:lnTo>
                    <a:lnTo>
                      <a:pt x="707" y="250"/>
                    </a:lnTo>
                    <a:lnTo>
                      <a:pt x="719" y="250"/>
                    </a:lnTo>
                    <a:lnTo>
                      <a:pt x="719" y="261"/>
                    </a:lnTo>
                    <a:lnTo>
                      <a:pt x="681" y="261"/>
                    </a:lnTo>
                    <a:lnTo>
                      <a:pt x="681" y="261"/>
                    </a:lnTo>
                    <a:lnTo>
                      <a:pt x="666" y="255"/>
                    </a:lnTo>
                    <a:lnTo>
                      <a:pt x="650" y="246"/>
                    </a:lnTo>
                    <a:lnTo>
                      <a:pt x="639" y="240"/>
                    </a:lnTo>
                    <a:lnTo>
                      <a:pt x="629" y="232"/>
                    </a:lnTo>
                    <a:lnTo>
                      <a:pt x="619" y="223"/>
                    </a:lnTo>
                    <a:lnTo>
                      <a:pt x="606" y="213"/>
                    </a:lnTo>
                    <a:lnTo>
                      <a:pt x="606" y="213"/>
                    </a:lnTo>
                    <a:lnTo>
                      <a:pt x="591" y="198"/>
                    </a:lnTo>
                    <a:lnTo>
                      <a:pt x="577" y="185"/>
                    </a:lnTo>
                    <a:lnTo>
                      <a:pt x="559" y="171"/>
                    </a:lnTo>
                    <a:lnTo>
                      <a:pt x="539" y="159"/>
                    </a:lnTo>
                    <a:lnTo>
                      <a:pt x="517" y="149"/>
                    </a:lnTo>
                    <a:lnTo>
                      <a:pt x="494" y="140"/>
                    </a:lnTo>
                    <a:lnTo>
                      <a:pt x="467" y="133"/>
                    </a:lnTo>
                    <a:lnTo>
                      <a:pt x="437" y="129"/>
                    </a:lnTo>
                    <a:lnTo>
                      <a:pt x="437" y="110"/>
                    </a:lnTo>
                    <a:lnTo>
                      <a:pt x="448" y="110"/>
                    </a:lnTo>
                    <a:lnTo>
                      <a:pt x="452" y="99"/>
                    </a:lnTo>
                    <a:lnTo>
                      <a:pt x="456" y="99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9" y="90"/>
                    </a:lnTo>
                    <a:lnTo>
                      <a:pt x="460" y="88"/>
                    </a:lnTo>
                    <a:lnTo>
                      <a:pt x="460" y="81"/>
                    </a:lnTo>
                    <a:lnTo>
                      <a:pt x="460" y="81"/>
                    </a:lnTo>
                    <a:lnTo>
                      <a:pt x="459" y="79"/>
                    </a:lnTo>
                    <a:lnTo>
                      <a:pt x="456" y="79"/>
                    </a:lnTo>
                    <a:lnTo>
                      <a:pt x="444" y="79"/>
                    </a:lnTo>
                    <a:lnTo>
                      <a:pt x="444" y="79"/>
                    </a:lnTo>
                    <a:lnTo>
                      <a:pt x="434" y="73"/>
                    </a:lnTo>
                    <a:lnTo>
                      <a:pt x="427" y="71"/>
                    </a:lnTo>
                    <a:lnTo>
                      <a:pt x="422" y="71"/>
                    </a:lnTo>
                    <a:lnTo>
                      <a:pt x="422" y="71"/>
                    </a:lnTo>
                    <a:lnTo>
                      <a:pt x="411" y="71"/>
                    </a:lnTo>
                    <a:lnTo>
                      <a:pt x="411" y="53"/>
                    </a:lnTo>
                    <a:lnTo>
                      <a:pt x="411" y="53"/>
                    </a:lnTo>
                    <a:lnTo>
                      <a:pt x="411" y="50"/>
                    </a:lnTo>
                    <a:lnTo>
                      <a:pt x="410" y="47"/>
                    </a:lnTo>
                    <a:lnTo>
                      <a:pt x="407" y="45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03" y="43"/>
                    </a:lnTo>
                    <a:lnTo>
                      <a:pt x="403" y="12"/>
                    </a:lnTo>
                    <a:lnTo>
                      <a:pt x="403" y="12"/>
                    </a:lnTo>
                    <a:lnTo>
                      <a:pt x="404" y="11"/>
                    </a:lnTo>
                    <a:lnTo>
                      <a:pt x="404" y="11"/>
                    </a:lnTo>
                    <a:lnTo>
                      <a:pt x="406" y="9"/>
                    </a:lnTo>
                    <a:lnTo>
                      <a:pt x="407" y="8"/>
                    </a:lnTo>
                    <a:lnTo>
                      <a:pt x="407" y="5"/>
                    </a:lnTo>
                    <a:lnTo>
                      <a:pt x="407" y="3"/>
                    </a:lnTo>
                    <a:lnTo>
                      <a:pt x="407" y="3"/>
                    </a:lnTo>
                    <a:lnTo>
                      <a:pt x="406" y="1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9" y="0"/>
                    </a:lnTo>
                    <a:lnTo>
                      <a:pt x="399" y="0"/>
                    </a:lnTo>
                    <a:lnTo>
                      <a:pt x="396" y="3"/>
                    </a:lnTo>
                    <a:lnTo>
                      <a:pt x="395" y="4"/>
                    </a:lnTo>
                    <a:lnTo>
                      <a:pt x="395" y="7"/>
                    </a:lnTo>
                    <a:lnTo>
                      <a:pt x="396" y="9"/>
                    </a:lnTo>
                    <a:lnTo>
                      <a:pt x="396" y="9"/>
                    </a:lnTo>
                    <a:lnTo>
                      <a:pt x="397" y="11"/>
                    </a:lnTo>
                    <a:lnTo>
                      <a:pt x="400" y="12"/>
                    </a:lnTo>
                    <a:lnTo>
                      <a:pt x="400" y="43"/>
                    </a:lnTo>
                    <a:lnTo>
                      <a:pt x="400" y="43"/>
                    </a:lnTo>
                    <a:lnTo>
                      <a:pt x="396" y="45"/>
                    </a:lnTo>
                    <a:lnTo>
                      <a:pt x="393" y="49"/>
                    </a:lnTo>
                    <a:lnTo>
                      <a:pt x="393" y="49"/>
                    </a:lnTo>
                    <a:lnTo>
                      <a:pt x="392" y="52"/>
                    </a:lnTo>
                    <a:lnTo>
                      <a:pt x="392" y="52"/>
                    </a:lnTo>
                    <a:lnTo>
                      <a:pt x="392" y="71"/>
                    </a:lnTo>
                    <a:lnTo>
                      <a:pt x="392" y="71"/>
                    </a:lnTo>
                    <a:lnTo>
                      <a:pt x="377" y="71"/>
                    </a:lnTo>
                    <a:lnTo>
                      <a:pt x="377" y="71"/>
                    </a:lnTo>
                    <a:lnTo>
                      <a:pt x="368" y="71"/>
                    </a:lnTo>
                    <a:lnTo>
                      <a:pt x="361" y="73"/>
                    </a:lnTo>
                    <a:lnTo>
                      <a:pt x="351" y="79"/>
                    </a:lnTo>
                    <a:lnTo>
                      <a:pt x="343" y="79"/>
                    </a:lnTo>
                    <a:lnTo>
                      <a:pt x="343" y="79"/>
                    </a:lnTo>
                    <a:lnTo>
                      <a:pt x="340" y="79"/>
                    </a:lnTo>
                    <a:lnTo>
                      <a:pt x="339" y="81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40" y="90"/>
                    </a:lnTo>
                    <a:lnTo>
                      <a:pt x="343" y="91"/>
                    </a:lnTo>
                    <a:lnTo>
                      <a:pt x="343" y="91"/>
                    </a:lnTo>
                    <a:lnTo>
                      <a:pt x="343" y="99"/>
                    </a:lnTo>
                    <a:lnTo>
                      <a:pt x="347" y="99"/>
                    </a:lnTo>
                    <a:lnTo>
                      <a:pt x="351" y="110"/>
                    </a:lnTo>
                    <a:lnTo>
                      <a:pt x="364" y="110"/>
                    </a:lnTo>
                    <a:lnTo>
                      <a:pt x="364" y="129"/>
                    </a:lnTo>
                    <a:lnTo>
                      <a:pt x="365" y="129"/>
                    </a:lnTo>
                    <a:lnTo>
                      <a:pt x="365" y="129"/>
                    </a:lnTo>
                    <a:lnTo>
                      <a:pt x="335" y="133"/>
                    </a:lnTo>
                    <a:lnTo>
                      <a:pt x="308" y="140"/>
                    </a:lnTo>
                    <a:lnTo>
                      <a:pt x="284" y="149"/>
                    </a:lnTo>
                    <a:lnTo>
                      <a:pt x="260" y="160"/>
                    </a:lnTo>
                    <a:lnTo>
                      <a:pt x="240" y="172"/>
                    </a:lnTo>
                    <a:lnTo>
                      <a:pt x="222" y="185"/>
                    </a:lnTo>
                    <a:lnTo>
                      <a:pt x="206" y="198"/>
                    </a:lnTo>
                    <a:lnTo>
                      <a:pt x="191" y="213"/>
                    </a:lnTo>
                    <a:lnTo>
                      <a:pt x="191" y="213"/>
                    </a:lnTo>
                    <a:lnTo>
                      <a:pt x="180" y="224"/>
                    </a:lnTo>
                    <a:lnTo>
                      <a:pt x="170" y="232"/>
                    </a:lnTo>
                    <a:lnTo>
                      <a:pt x="151" y="247"/>
                    </a:lnTo>
                    <a:lnTo>
                      <a:pt x="134" y="255"/>
                    </a:lnTo>
                    <a:lnTo>
                      <a:pt x="121" y="261"/>
                    </a:lnTo>
                    <a:lnTo>
                      <a:pt x="85" y="261"/>
                    </a:lnTo>
                    <a:lnTo>
                      <a:pt x="85" y="250"/>
                    </a:lnTo>
                    <a:lnTo>
                      <a:pt x="92" y="250"/>
                    </a:lnTo>
                    <a:lnTo>
                      <a:pt x="92" y="243"/>
                    </a:lnTo>
                    <a:lnTo>
                      <a:pt x="103" y="243"/>
                    </a:lnTo>
                    <a:lnTo>
                      <a:pt x="103" y="231"/>
                    </a:lnTo>
                    <a:lnTo>
                      <a:pt x="88" y="231"/>
                    </a:lnTo>
                    <a:lnTo>
                      <a:pt x="62" y="182"/>
                    </a:lnTo>
                    <a:lnTo>
                      <a:pt x="73" y="182"/>
                    </a:lnTo>
                    <a:lnTo>
                      <a:pt x="52" y="153"/>
                    </a:lnTo>
                    <a:lnTo>
                      <a:pt x="31" y="183"/>
                    </a:lnTo>
                    <a:lnTo>
                      <a:pt x="41" y="182"/>
                    </a:lnTo>
                    <a:lnTo>
                      <a:pt x="14" y="231"/>
                    </a:lnTo>
                    <a:lnTo>
                      <a:pt x="0" y="231"/>
                    </a:lnTo>
                    <a:lnTo>
                      <a:pt x="0" y="243"/>
                    </a:lnTo>
                    <a:lnTo>
                      <a:pt x="11" y="243"/>
                    </a:lnTo>
                    <a:lnTo>
                      <a:pt x="11" y="250"/>
                    </a:lnTo>
                    <a:lnTo>
                      <a:pt x="19" y="250"/>
                    </a:lnTo>
                    <a:lnTo>
                      <a:pt x="19" y="403"/>
                    </a:lnTo>
                    <a:lnTo>
                      <a:pt x="784" y="403"/>
                    </a:lnTo>
                    <a:lnTo>
                      <a:pt x="784" y="250"/>
                    </a:lnTo>
                    <a:lnTo>
                      <a:pt x="788" y="250"/>
                    </a:lnTo>
                    <a:lnTo>
                      <a:pt x="788" y="243"/>
                    </a:lnTo>
                    <a:lnTo>
                      <a:pt x="799" y="243"/>
                    </a:lnTo>
                    <a:lnTo>
                      <a:pt x="799" y="231"/>
                    </a:lnTo>
                    <a:lnTo>
                      <a:pt x="785" y="231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208"/>
              <p:cNvSpPr>
                <a:spLocks/>
              </p:cNvSpPr>
              <p:nvPr/>
            </p:nvSpPr>
            <p:spPr bwMode="auto">
              <a:xfrm>
                <a:off x="4731578" y="6887702"/>
                <a:ext cx="605993" cy="559017"/>
              </a:xfrm>
              <a:custGeom>
                <a:avLst/>
                <a:gdLst>
                  <a:gd name="T0" fmla="*/ 486 w 516"/>
                  <a:gd name="T1" fmla="*/ 372 h 476"/>
                  <a:gd name="T2" fmla="*/ 486 w 516"/>
                  <a:gd name="T3" fmla="*/ 330 h 476"/>
                  <a:gd name="T4" fmla="*/ 486 w 516"/>
                  <a:gd name="T5" fmla="*/ 228 h 476"/>
                  <a:gd name="T6" fmla="*/ 486 w 516"/>
                  <a:gd name="T7" fmla="*/ 172 h 476"/>
                  <a:gd name="T8" fmla="*/ 486 w 516"/>
                  <a:gd name="T9" fmla="*/ 172 h 476"/>
                  <a:gd name="T10" fmla="*/ 486 w 516"/>
                  <a:gd name="T11" fmla="*/ 170 h 476"/>
                  <a:gd name="T12" fmla="*/ 484 w 516"/>
                  <a:gd name="T13" fmla="*/ 168 h 476"/>
                  <a:gd name="T14" fmla="*/ 482 w 516"/>
                  <a:gd name="T15" fmla="*/ 168 h 476"/>
                  <a:gd name="T16" fmla="*/ 478 w 516"/>
                  <a:gd name="T17" fmla="*/ 168 h 476"/>
                  <a:gd name="T18" fmla="*/ 418 w 516"/>
                  <a:gd name="T19" fmla="*/ 226 h 476"/>
                  <a:gd name="T20" fmla="*/ 410 w 516"/>
                  <a:gd name="T21" fmla="*/ 68 h 476"/>
                  <a:gd name="T22" fmla="*/ 370 w 516"/>
                  <a:gd name="T23" fmla="*/ 68 h 476"/>
                  <a:gd name="T24" fmla="*/ 366 w 516"/>
                  <a:gd name="T25" fmla="*/ 172 h 476"/>
                  <a:gd name="T26" fmla="*/ 304 w 516"/>
                  <a:gd name="T27" fmla="*/ 228 h 476"/>
                  <a:gd name="T28" fmla="*/ 304 w 516"/>
                  <a:gd name="T29" fmla="*/ 228 h 476"/>
                  <a:gd name="T30" fmla="*/ 298 w 516"/>
                  <a:gd name="T31" fmla="*/ 0 h 476"/>
                  <a:gd name="T32" fmla="*/ 266 w 516"/>
                  <a:gd name="T33" fmla="*/ 0 h 476"/>
                  <a:gd name="T34" fmla="*/ 262 w 516"/>
                  <a:gd name="T35" fmla="*/ 168 h 476"/>
                  <a:gd name="T36" fmla="*/ 262 w 516"/>
                  <a:gd name="T37" fmla="*/ 168 h 476"/>
                  <a:gd name="T38" fmla="*/ 260 w 516"/>
                  <a:gd name="T39" fmla="*/ 168 h 476"/>
                  <a:gd name="T40" fmla="*/ 258 w 516"/>
                  <a:gd name="T41" fmla="*/ 168 h 476"/>
                  <a:gd name="T42" fmla="*/ 194 w 516"/>
                  <a:gd name="T43" fmla="*/ 228 h 476"/>
                  <a:gd name="T44" fmla="*/ 146 w 516"/>
                  <a:gd name="T45" fmla="*/ 228 h 476"/>
                  <a:gd name="T46" fmla="*/ 138 w 516"/>
                  <a:gd name="T47" fmla="*/ 42 h 476"/>
                  <a:gd name="T48" fmla="*/ 92 w 516"/>
                  <a:gd name="T49" fmla="*/ 42 h 476"/>
                  <a:gd name="T50" fmla="*/ 84 w 516"/>
                  <a:gd name="T51" fmla="*/ 228 h 476"/>
                  <a:gd name="T52" fmla="*/ 28 w 516"/>
                  <a:gd name="T53" fmla="*/ 228 h 476"/>
                  <a:gd name="T54" fmla="*/ 28 w 516"/>
                  <a:gd name="T55" fmla="*/ 312 h 476"/>
                  <a:gd name="T56" fmla="*/ 0 w 516"/>
                  <a:gd name="T57" fmla="*/ 312 h 476"/>
                  <a:gd name="T58" fmla="*/ 0 w 516"/>
                  <a:gd name="T59" fmla="*/ 476 h 476"/>
                  <a:gd name="T60" fmla="*/ 104 w 516"/>
                  <a:gd name="T61" fmla="*/ 476 h 476"/>
                  <a:gd name="T62" fmla="*/ 162 w 516"/>
                  <a:gd name="T63" fmla="*/ 476 h 476"/>
                  <a:gd name="T64" fmla="*/ 516 w 516"/>
                  <a:gd name="T65" fmla="*/ 476 h 476"/>
                  <a:gd name="T66" fmla="*/ 516 w 516"/>
                  <a:gd name="T67" fmla="*/ 372 h 476"/>
                  <a:gd name="T68" fmla="*/ 486 w 516"/>
                  <a:gd name="T69" fmla="*/ 372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6" h="476">
                    <a:moveTo>
                      <a:pt x="486" y="372"/>
                    </a:moveTo>
                    <a:lnTo>
                      <a:pt x="486" y="330"/>
                    </a:lnTo>
                    <a:lnTo>
                      <a:pt x="486" y="228"/>
                    </a:lnTo>
                    <a:lnTo>
                      <a:pt x="486" y="172"/>
                    </a:lnTo>
                    <a:lnTo>
                      <a:pt x="486" y="172"/>
                    </a:lnTo>
                    <a:lnTo>
                      <a:pt x="486" y="170"/>
                    </a:lnTo>
                    <a:lnTo>
                      <a:pt x="484" y="168"/>
                    </a:lnTo>
                    <a:lnTo>
                      <a:pt x="482" y="168"/>
                    </a:lnTo>
                    <a:lnTo>
                      <a:pt x="478" y="168"/>
                    </a:lnTo>
                    <a:lnTo>
                      <a:pt x="418" y="226"/>
                    </a:lnTo>
                    <a:lnTo>
                      <a:pt x="410" y="68"/>
                    </a:lnTo>
                    <a:lnTo>
                      <a:pt x="370" y="68"/>
                    </a:lnTo>
                    <a:lnTo>
                      <a:pt x="366" y="172"/>
                    </a:lnTo>
                    <a:lnTo>
                      <a:pt x="304" y="228"/>
                    </a:lnTo>
                    <a:lnTo>
                      <a:pt x="304" y="228"/>
                    </a:lnTo>
                    <a:lnTo>
                      <a:pt x="298" y="0"/>
                    </a:lnTo>
                    <a:lnTo>
                      <a:pt x="266" y="0"/>
                    </a:lnTo>
                    <a:lnTo>
                      <a:pt x="262" y="168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8" y="168"/>
                    </a:lnTo>
                    <a:lnTo>
                      <a:pt x="194" y="228"/>
                    </a:lnTo>
                    <a:lnTo>
                      <a:pt x="146" y="228"/>
                    </a:lnTo>
                    <a:lnTo>
                      <a:pt x="138" y="42"/>
                    </a:lnTo>
                    <a:lnTo>
                      <a:pt x="92" y="42"/>
                    </a:lnTo>
                    <a:lnTo>
                      <a:pt x="84" y="228"/>
                    </a:lnTo>
                    <a:lnTo>
                      <a:pt x="28" y="228"/>
                    </a:lnTo>
                    <a:lnTo>
                      <a:pt x="28" y="312"/>
                    </a:lnTo>
                    <a:lnTo>
                      <a:pt x="0" y="312"/>
                    </a:lnTo>
                    <a:lnTo>
                      <a:pt x="0" y="476"/>
                    </a:lnTo>
                    <a:lnTo>
                      <a:pt x="104" y="476"/>
                    </a:lnTo>
                    <a:lnTo>
                      <a:pt x="162" y="476"/>
                    </a:lnTo>
                    <a:lnTo>
                      <a:pt x="516" y="476"/>
                    </a:lnTo>
                    <a:lnTo>
                      <a:pt x="516" y="372"/>
                    </a:lnTo>
                    <a:lnTo>
                      <a:pt x="486" y="37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212"/>
              <p:cNvSpPr>
                <a:spLocks/>
              </p:cNvSpPr>
              <p:nvPr/>
            </p:nvSpPr>
            <p:spPr bwMode="auto">
              <a:xfrm>
                <a:off x="328613" y="6587958"/>
                <a:ext cx="663400" cy="921481"/>
              </a:xfrm>
              <a:custGeom>
                <a:avLst/>
                <a:gdLst>
                  <a:gd name="T0" fmla="*/ 391 w 401"/>
                  <a:gd name="T1" fmla="*/ 201 h 557"/>
                  <a:gd name="T2" fmla="*/ 397 w 401"/>
                  <a:gd name="T3" fmla="*/ 150 h 557"/>
                  <a:gd name="T4" fmla="*/ 365 w 401"/>
                  <a:gd name="T5" fmla="*/ 140 h 557"/>
                  <a:gd name="T6" fmla="*/ 350 w 401"/>
                  <a:gd name="T7" fmla="*/ 118 h 557"/>
                  <a:gd name="T8" fmla="*/ 334 w 401"/>
                  <a:gd name="T9" fmla="*/ 118 h 557"/>
                  <a:gd name="T10" fmla="*/ 332 w 401"/>
                  <a:gd name="T11" fmla="*/ 101 h 557"/>
                  <a:gd name="T12" fmla="*/ 319 w 401"/>
                  <a:gd name="T13" fmla="*/ 34 h 557"/>
                  <a:gd name="T14" fmla="*/ 328 w 401"/>
                  <a:gd name="T15" fmla="*/ 17 h 557"/>
                  <a:gd name="T16" fmla="*/ 324 w 401"/>
                  <a:gd name="T17" fmla="*/ 6 h 557"/>
                  <a:gd name="T18" fmla="*/ 318 w 401"/>
                  <a:gd name="T19" fmla="*/ 0 h 557"/>
                  <a:gd name="T20" fmla="*/ 314 w 401"/>
                  <a:gd name="T21" fmla="*/ 12 h 557"/>
                  <a:gd name="T22" fmla="*/ 311 w 401"/>
                  <a:gd name="T23" fmla="*/ 28 h 557"/>
                  <a:gd name="T24" fmla="*/ 305 w 401"/>
                  <a:gd name="T25" fmla="*/ 73 h 557"/>
                  <a:gd name="T26" fmla="*/ 299 w 401"/>
                  <a:gd name="T27" fmla="*/ 106 h 557"/>
                  <a:gd name="T28" fmla="*/ 292 w 401"/>
                  <a:gd name="T29" fmla="*/ 117 h 557"/>
                  <a:gd name="T30" fmla="*/ 270 w 401"/>
                  <a:gd name="T31" fmla="*/ 137 h 557"/>
                  <a:gd name="T32" fmla="*/ 241 w 401"/>
                  <a:gd name="T33" fmla="*/ 140 h 557"/>
                  <a:gd name="T34" fmla="*/ 235 w 401"/>
                  <a:gd name="T35" fmla="*/ 118 h 557"/>
                  <a:gd name="T36" fmla="*/ 204 w 401"/>
                  <a:gd name="T37" fmla="*/ 86 h 557"/>
                  <a:gd name="T38" fmla="*/ 175 w 401"/>
                  <a:gd name="T39" fmla="*/ 111 h 557"/>
                  <a:gd name="T40" fmla="*/ 165 w 401"/>
                  <a:gd name="T41" fmla="*/ 137 h 557"/>
                  <a:gd name="T42" fmla="*/ 139 w 401"/>
                  <a:gd name="T43" fmla="*/ 140 h 557"/>
                  <a:gd name="T44" fmla="*/ 128 w 401"/>
                  <a:gd name="T45" fmla="*/ 122 h 557"/>
                  <a:gd name="T46" fmla="*/ 105 w 401"/>
                  <a:gd name="T47" fmla="*/ 118 h 557"/>
                  <a:gd name="T48" fmla="*/ 104 w 401"/>
                  <a:gd name="T49" fmla="*/ 101 h 557"/>
                  <a:gd name="T50" fmla="*/ 96 w 401"/>
                  <a:gd name="T51" fmla="*/ 54 h 557"/>
                  <a:gd name="T52" fmla="*/ 99 w 401"/>
                  <a:gd name="T53" fmla="*/ 20 h 557"/>
                  <a:gd name="T54" fmla="*/ 95 w 401"/>
                  <a:gd name="T55" fmla="*/ 6 h 557"/>
                  <a:gd name="T56" fmla="*/ 89 w 401"/>
                  <a:gd name="T57" fmla="*/ 0 h 557"/>
                  <a:gd name="T58" fmla="*/ 83 w 401"/>
                  <a:gd name="T59" fmla="*/ 6 h 557"/>
                  <a:gd name="T60" fmla="*/ 82 w 401"/>
                  <a:gd name="T61" fmla="*/ 23 h 557"/>
                  <a:gd name="T62" fmla="*/ 79 w 401"/>
                  <a:gd name="T63" fmla="*/ 54 h 557"/>
                  <a:gd name="T64" fmla="*/ 71 w 401"/>
                  <a:gd name="T65" fmla="*/ 101 h 557"/>
                  <a:gd name="T66" fmla="*/ 70 w 401"/>
                  <a:gd name="T67" fmla="*/ 118 h 557"/>
                  <a:gd name="T68" fmla="*/ 48 w 401"/>
                  <a:gd name="T69" fmla="*/ 124 h 557"/>
                  <a:gd name="T70" fmla="*/ 0 w 401"/>
                  <a:gd name="T71" fmla="*/ 140 h 557"/>
                  <a:gd name="T72" fmla="*/ 6 w 401"/>
                  <a:gd name="T73" fmla="*/ 200 h 557"/>
                  <a:gd name="T74" fmla="*/ 13 w 401"/>
                  <a:gd name="T75" fmla="*/ 203 h 557"/>
                  <a:gd name="T76" fmla="*/ 16 w 401"/>
                  <a:gd name="T77" fmla="*/ 268 h 557"/>
                  <a:gd name="T78" fmla="*/ 4 w 401"/>
                  <a:gd name="T79" fmla="*/ 271 h 557"/>
                  <a:gd name="T80" fmla="*/ 12 w 401"/>
                  <a:gd name="T81" fmla="*/ 286 h 557"/>
                  <a:gd name="T82" fmla="*/ 10 w 401"/>
                  <a:gd name="T83" fmla="*/ 470 h 557"/>
                  <a:gd name="T84" fmla="*/ 10 w 401"/>
                  <a:gd name="T85" fmla="*/ 557 h 557"/>
                  <a:gd name="T86" fmla="*/ 136 w 401"/>
                  <a:gd name="T87" fmla="*/ 474 h 557"/>
                  <a:gd name="T88" fmla="*/ 128 w 401"/>
                  <a:gd name="T89" fmla="*/ 328 h 557"/>
                  <a:gd name="T90" fmla="*/ 139 w 401"/>
                  <a:gd name="T91" fmla="*/ 284 h 557"/>
                  <a:gd name="T92" fmla="*/ 168 w 401"/>
                  <a:gd name="T93" fmla="*/ 258 h 557"/>
                  <a:gd name="T94" fmla="*/ 211 w 401"/>
                  <a:gd name="T95" fmla="*/ 252 h 557"/>
                  <a:gd name="T96" fmla="*/ 255 w 401"/>
                  <a:gd name="T97" fmla="*/ 271 h 557"/>
                  <a:gd name="T98" fmla="*/ 279 w 401"/>
                  <a:gd name="T99" fmla="*/ 319 h 557"/>
                  <a:gd name="T100" fmla="*/ 271 w 401"/>
                  <a:gd name="T101" fmla="*/ 474 h 557"/>
                  <a:gd name="T102" fmla="*/ 392 w 401"/>
                  <a:gd name="T103" fmla="*/ 557 h 557"/>
                  <a:gd name="T104" fmla="*/ 391 w 401"/>
                  <a:gd name="T105" fmla="*/ 470 h 557"/>
                  <a:gd name="T106" fmla="*/ 389 w 401"/>
                  <a:gd name="T107" fmla="*/ 286 h 557"/>
                  <a:gd name="T108" fmla="*/ 398 w 401"/>
                  <a:gd name="T109" fmla="*/ 271 h 557"/>
                  <a:gd name="T110" fmla="*/ 388 w 401"/>
                  <a:gd name="T111" fmla="*/ 27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557">
                    <a:moveTo>
                      <a:pt x="388" y="220"/>
                    </a:moveTo>
                    <a:lnTo>
                      <a:pt x="388" y="203"/>
                    </a:lnTo>
                    <a:lnTo>
                      <a:pt x="388" y="203"/>
                    </a:lnTo>
                    <a:lnTo>
                      <a:pt x="389" y="201"/>
                    </a:lnTo>
                    <a:lnTo>
                      <a:pt x="391" y="201"/>
                    </a:lnTo>
                    <a:lnTo>
                      <a:pt x="395" y="200"/>
                    </a:lnTo>
                    <a:lnTo>
                      <a:pt x="395" y="200"/>
                    </a:lnTo>
                    <a:lnTo>
                      <a:pt x="397" y="200"/>
                    </a:lnTo>
                    <a:lnTo>
                      <a:pt x="397" y="198"/>
                    </a:lnTo>
                    <a:lnTo>
                      <a:pt x="397" y="150"/>
                    </a:lnTo>
                    <a:lnTo>
                      <a:pt x="401" y="149"/>
                    </a:lnTo>
                    <a:lnTo>
                      <a:pt x="401" y="140"/>
                    </a:lnTo>
                    <a:lnTo>
                      <a:pt x="367" y="140"/>
                    </a:lnTo>
                    <a:lnTo>
                      <a:pt x="367" y="140"/>
                    </a:lnTo>
                    <a:lnTo>
                      <a:pt x="365" y="140"/>
                    </a:lnTo>
                    <a:lnTo>
                      <a:pt x="365" y="137"/>
                    </a:lnTo>
                    <a:lnTo>
                      <a:pt x="365" y="137"/>
                    </a:lnTo>
                    <a:lnTo>
                      <a:pt x="362" y="130"/>
                    </a:lnTo>
                    <a:lnTo>
                      <a:pt x="357" y="122"/>
                    </a:lnTo>
                    <a:lnTo>
                      <a:pt x="350" y="118"/>
                    </a:lnTo>
                    <a:lnTo>
                      <a:pt x="343" y="117"/>
                    </a:lnTo>
                    <a:lnTo>
                      <a:pt x="343" y="117"/>
                    </a:lnTo>
                    <a:lnTo>
                      <a:pt x="338" y="117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1"/>
                    </a:lnTo>
                    <a:lnTo>
                      <a:pt x="334" y="111"/>
                    </a:lnTo>
                    <a:lnTo>
                      <a:pt x="334" y="106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28" y="73"/>
                    </a:lnTo>
                    <a:lnTo>
                      <a:pt x="325" y="54"/>
                    </a:lnTo>
                    <a:lnTo>
                      <a:pt x="319" y="34"/>
                    </a:lnTo>
                    <a:lnTo>
                      <a:pt x="327" y="34"/>
                    </a:lnTo>
                    <a:lnTo>
                      <a:pt x="322" y="29"/>
                    </a:lnTo>
                    <a:lnTo>
                      <a:pt x="322" y="23"/>
                    </a:lnTo>
                    <a:lnTo>
                      <a:pt x="327" y="20"/>
                    </a:lnTo>
                    <a:lnTo>
                      <a:pt x="328" y="17"/>
                    </a:lnTo>
                    <a:lnTo>
                      <a:pt x="337" y="12"/>
                    </a:lnTo>
                    <a:lnTo>
                      <a:pt x="322" y="12"/>
                    </a:lnTo>
                    <a:lnTo>
                      <a:pt x="322" y="12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4" y="3"/>
                    </a:lnTo>
                    <a:lnTo>
                      <a:pt x="322" y="1"/>
                    </a:lnTo>
                    <a:lnTo>
                      <a:pt x="321" y="0"/>
                    </a:lnTo>
                    <a:lnTo>
                      <a:pt x="318" y="0"/>
                    </a:lnTo>
                    <a:lnTo>
                      <a:pt x="318" y="0"/>
                    </a:lnTo>
                    <a:lnTo>
                      <a:pt x="314" y="0"/>
                    </a:lnTo>
                    <a:lnTo>
                      <a:pt x="312" y="1"/>
                    </a:lnTo>
                    <a:lnTo>
                      <a:pt x="312" y="6"/>
                    </a:lnTo>
                    <a:lnTo>
                      <a:pt x="312" y="6"/>
                    </a:lnTo>
                    <a:lnTo>
                      <a:pt x="314" y="12"/>
                    </a:lnTo>
                    <a:lnTo>
                      <a:pt x="299" y="12"/>
                    </a:lnTo>
                    <a:lnTo>
                      <a:pt x="305" y="17"/>
                    </a:lnTo>
                    <a:lnTo>
                      <a:pt x="306" y="20"/>
                    </a:lnTo>
                    <a:lnTo>
                      <a:pt x="309" y="23"/>
                    </a:lnTo>
                    <a:lnTo>
                      <a:pt x="311" y="28"/>
                    </a:lnTo>
                    <a:lnTo>
                      <a:pt x="305" y="34"/>
                    </a:lnTo>
                    <a:lnTo>
                      <a:pt x="314" y="34"/>
                    </a:lnTo>
                    <a:lnTo>
                      <a:pt x="314" y="34"/>
                    </a:lnTo>
                    <a:lnTo>
                      <a:pt x="308" y="54"/>
                    </a:lnTo>
                    <a:lnTo>
                      <a:pt x="305" y="73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299" y="106"/>
                    </a:lnTo>
                    <a:lnTo>
                      <a:pt x="299" y="111"/>
                    </a:lnTo>
                    <a:lnTo>
                      <a:pt x="299" y="111"/>
                    </a:lnTo>
                    <a:lnTo>
                      <a:pt x="299" y="118"/>
                    </a:lnTo>
                    <a:lnTo>
                      <a:pt x="299" y="118"/>
                    </a:lnTo>
                    <a:lnTo>
                      <a:pt x="292" y="117"/>
                    </a:lnTo>
                    <a:lnTo>
                      <a:pt x="292" y="117"/>
                    </a:lnTo>
                    <a:lnTo>
                      <a:pt x="284" y="118"/>
                    </a:lnTo>
                    <a:lnTo>
                      <a:pt x="277" y="122"/>
                    </a:lnTo>
                    <a:lnTo>
                      <a:pt x="273" y="130"/>
                    </a:lnTo>
                    <a:lnTo>
                      <a:pt x="270" y="137"/>
                    </a:lnTo>
                    <a:lnTo>
                      <a:pt x="270" y="137"/>
                    </a:lnTo>
                    <a:lnTo>
                      <a:pt x="270" y="140"/>
                    </a:lnTo>
                    <a:lnTo>
                      <a:pt x="268" y="140"/>
                    </a:lnTo>
                    <a:lnTo>
                      <a:pt x="241" y="140"/>
                    </a:lnTo>
                    <a:lnTo>
                      <a:pt x="241" y="140"/>
                    </a:lnTo>
                    <a:lnTo>
                      <a:pt x="239" y="140"/>
                    </a:lnTo>
                    <a:lnTo>
                      <a:pt x="238" y="137"/>
                    </a:lnTo>
                    <a:lnTo>
                      <a:pt x="238" y="137"/>
                    </a:lnTo>
                    <a:lnTo>
                      <a:pt x="238" y="127"/>
                    </a:lnTo>
                    <a:lnTo>
                      <a:pt x="235" y="118"/>
                    </a:lnTo>
                    <a:lnTo>
                      <a:pt x="232" y="114"/>
                    </a:lnTo>
                    <a:lnTo>
                      <a:pt x="227" y="108"/>
                    </a:lnTo>
                    <a:lnTo>
                      <a:pt x="227" y="108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3" y="86"/>
                    </a:lnTo>
                    <a:lnTo>
                      <a:pt x="201" y="86"/>
                    </a:lnTo>
                    <a:lnTo>
                      <a:pt x="201" y="86"/>
                    </a:lnTo>
                    <a:lnTo>
                      <a:pt x="190" y="96"/>
                    </a:lnTo>
                    <a:lnTo>
                      <a:pt x="175" y="111"/>
                    </a:lnTo>
                    <a:lnTo>
                      <a:pt x="175" y="111"/>
                    </a:lnTo>
                    <a:lnTo>
                      <a:pt x="169" y="118"/>
                    </a:lnTo>
                    <a:lnTo>
                      <a:pt x="166" y="125"/>
                    </a:lnTo>
                    <a:lnTo>
                      <a:pt x="165" y="133"/>
                    </a:lnTo>
                    <a:lnTo>
                      <a:pt x="165" y="137"/>
                    </a:lnTo>
                    <a:lnTo>
                      <a:pt x="165" y="137"/>
                    </a:lnTo>
                    <a:lnTo>
                      <a:pt x="165" y="139"/>
                    </a:lnTo>
                    <a:lnTo>
                      <a:pt x="163" y="140"/>
                    </a:lnTo>
                    <a:lnTo>
                      <a:pt x="139" y="140"/>
                    </a:lnTo>
                    <a:lnTo>
                      <a:pt x="139" y="140"/>
                    </a:lnTo>
                    <a:lnTo>
                      <a:pt x="137" y="140"/>
                    </a:lnTo>
                    <a:lnTo>
                      <a:pt x="136" y="137"/>
                    </a:lnTo>
                    <a:lnTo>
                      <a:pt x="136" y="137"/>
                    </a:lnTo>
                    <a:lnTo>
                      <a:pt x="133" y="130"/>
                    </a:lnTo>
                    <a:lnTo>
                      <a:pt x="128" y="122"/>
                    </a:lnTo>
                    <a:lnTo>
                      <a:pt x="121" y="118"/>
                    </a:lnTo>
                    <a:lnTo>
                      <a:pt x="114" y="117"/>
                    </a:lnTo>
                    <a:lnTo>
                      <a:pt x="114" y="117"/>
                    </a:lnTo>
                    <a:lnTo>
                      <a:pt x="109" y="117"/>
                    </a:lnTo>
                    <a:lnTo>
                      <a:pt x="105" y="118"/>
                    </a:lnTo>
                    <a:lnTo>
                      <a:pt x="105" y="118"/>
                    </a:lnTo>
                    <a:lnTo>
                      <a:pt x="105" y="111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1" y="73"/>
                    </a:lnTo>
                    <a:lnTo>
                      <a:pt x="96" y="54"/>
                    </a:lnTo>
                    <a:lnTo>
                      <a:pt x="90" y="34"/>
                    </a:lnTo>
                    <a:lnTo>
                      <a:pt x="98" y="34"/>
                    </a:lnTo>
                    <a:lnTo>
                      <a:pt x="95" y="29"/>
                    </a:lnTo>
                    <a:lnTo>
                      <a:pt x="95" y="23"/>
                    </a:lnTo>
                    <a:lnTo>
                      <a:pt x="99" y="20"/>
                    </a:lnTo>
                    <a:lnTo>
                      <a:pt x="99" y="17"/>
                    </a:lnTo>
                    <a:lnTo>
                      <a:pt x="108" y="12"/>
                    </a:lnTo>
                    <a:lnTo>
                      <a:pt x="93" y="12"/>
                    </a:lnTo>
                    <a:lnTo>
                      <a:pt x="93" y="12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3"/>
                    </a:lnTo>
                    <a:lnTo>
                      <a:pt x="93" y="1"/>
                    </a:lnTo>
                    <a:lnTo>
                      <a:pt x="92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5" y="0"/>
                    </a:lnTo>
                    <a:lnTo>
                      <a:pt x="83" y="1"/>
                    </a:lnTo>
                    <a:lnTo>
                      <a:pt x="83" y="6"/>
                    </a:lnTo>
                    <a:lnTo>
                      <a:pt x="83" y="6"/>
                    </a:lnTo>
                    <a:lnTo>
                      <a:pt x="85" y="12"/>
                    </a:lnTo>
                    <a:lnTo>
                      <a:pt x="70" y="12"/>
                    </a:lnTo>
                    <a:lnTo>
                      <a:pt x="77" y="17"/>
                    </a:lnTo>
                    <a:lnTo>
                      <a:pt x="77" y="20"/>
                    </a:lnTo>
                    <a:lnTo>
                      <a:pt x="82" y="23"/>
                    </a:lnTo>
                    <a:lnTo>
                      <a:pt x="83" y="28"/>
                    </a:lnTo>
                    <a:lnTo>
                      <a:pt x="77" y="34"/>
                    </a:lnTo>
                    <a:lnTo>
                      <a:pt x="85" y="34"/>
                    </a:lnTo>
                    <a:lnTo>
                      <a:pt x="85" y="34"/>
                    </a:lnTo>
                    <a:lnTo>
                      <a:pt x="79" y="54"/>
                    </a:lnTo>
                    <a:lnTo>
                      <a:pt x="76" y="73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0" y="106"/>
                    </a:lnTo>
                    <a:lnTo>
                      <a:pt x="70" y="111"/>
                    </a:lnTo>
                    <a:lnTo>
                      <a:pt x="70" y="111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4" y="117"/>
                    </a:lnTo>
                    <a:lnTo>
                      <a:pt x="64" y="117"/>
                    </a:lnTo>
                    <a:lnTo>
                      <a:pt x="60" y="117"/>
                    </a:lnTo>
                    <a:lnTo>
                      <a:pt x="55" y="118"/>
                    </a:lnTo>
                    <a:lnTo>
                      <a:pt x="48" y="124"/>
                    </a:lnTo>
                    <a:lnTo>
                      <a:pt x="44" y="131"/>
                    </a:lnTo>
                    <a:lnTo>
                      <a:pt x="42" y="136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0" y="140"/>
                    </a:lnTo>
                    <a:lnTo>
                      <a:pt x="0" y="149"/>
                    </a:lnTo>
                    <a:lnTo>
                      <a:pt x="4" y="150"/>
                    </a:lnTo>
                    <a:lnTo>
                      <a:pt x="4" y="198"/>
                    </a:lnTo>
                    <a:lnTo>
                      <a:pt x="4" y="198"/>
                    </a:lnTo>
                    <a:lnTo>
                      <a:pt x="6" y="200"/>
                    </a:lnTo>
                    <a:lnTo>
                      <a:pt x="7" y="200"/>
                    </a:lnTo>
                    <a:lnTo>
                      <a:pt x="12" y="201"/>
                    </a:lnTo>
                    <a:lnTo>
                      <a:pt x="12" y="201"/>
                    </a:lnTo>
                    <a:lnTo>
                      <a:pt x="13" y="201"/>
                    </a:lnTo>
                    <a:lnTo>
                      <a:pt x="13" y="203"/>
                    </a:lnTo>
                    <a:lnTo>
                      <a:pt x="13" y="220"/>
                    </a:lnTo>
                    <a:lnTo>
                      <a:pt x="16" y="220"/>
                    </a:lnTo>
                    <a:lnTo>
                      <a:pt x="16" y="267"/>
                    </a:lnTo>
                    <a:lnTo>
                      <a:pt x="16" y="267"/>
                    </a:lnTo>
                    <a:lnTo>
                      <a:pt x="16" y="268"/>
                    </a:lnTo>
                    <a:lnTo>
                      <a:pt x="15" y="270"/>
                    </a:lnTo>
                    <a:lnTo>
                      <a:pt x="6" y="270"/>
                    </a:lnTo>
                    <a:lnTo>
                      <a:pt x="6" y="270"/>
                    </a:lnTo>
                    <a:lnTo>
                      <a:pt x="4" y="270"/>
                    </a:lnTo>
                    <a:lnTo>
                      <a:pt x="4" y="271"/>
                    </a:lnTo>
                    <a:lnTo>
                      <a:pt x="4" y="279"/>
                    </a:lnTo>
                    <a:lnTo>
                      <a:pt x="4" y="279"/>
                    </a:lnTo>
                    <a:lnTo>
                      <a:pt x="7" y="280"/>
                    </a:lnTo>
                    <a:lnTo>
                      <a:pt x="10" y="281"/>
                    </a:lnTo>
                    <a:lnTo>
                      <a:pt x="12" y="286"/>
                    </a:lnTo>
                    <a:lnTo>
                      <a:pt x="12" y="299"/>
                    </a:lnTo>
                    <a:lnTo>
                      <a:pt x="16" y="299"/>
                    </a:lnTo>
                    <a:lnTo>
                      <a:pt x="16" y="461"/>
                    </a:lnTo>
                    <a:lnTo>
                      <a:pt x="10" y="461"/>
                    </a:lnTo>
                    <a:lnTo>
                      <a:pt x="10" y="470"/>
                    </a:lnTo>
                    <a:lnTo>
                      <a:pt x="7" y="47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9" y="556"/>
                    </a:lnTo>
                    <a:lnTo>
                      <a:pt x="10" y="557"/>
                    </a:lnTo>
                    <a:lnTo>
                      <a:pt x="133" y="557"/>
                    </a:lnTo>
                    <a:lnTo>
                      <a:pt x="133" y="557"/>
                    </a:lnTo>
                    <a:lnTo>
                      <a:pt x="136" y="556"/>
                    </a:lnTo>
                    <a:lnTo>
                      <a:pt x="136" y="554"/>
                    </a:lnTo>
                    <a:lnTo>
                      <a:pt x="136" y="474"/>
                    </a:lnTo>
                    <a:lnTo>
                      <a:pt x="133" y="470"/>
                    </a:lnTo>
                    <a:lnTo>
                      <a:pt x="133" y="461"/>
                    </a:lnTo>
                    <a:lnTo>
                      <a:pt x="128" y="461"/>
                    </a:lnTo>
                    <a:lnTo>
                      <a:pt x="128" y="461"/>
                    </a:lnTo>
                    <a:lnTo>
                      <a:pt x="128" y="328"/>
                    </a:lnTo>
                    <a:lnTo>
                      <a:pt x="128" y="328"/>
                    </a:lnTo>
                    <a:lnTo>
                      <a:pt x="128" y="319"/>
                    </a:lnTo>
                    <a:lnTo>
                      <a:pt x="130" y="309"/>
                    </a:lnTo>
                    <a:lnTo>
                      <a:pt x="133" y="296"/>
                    </a:lnTo>
                    <a:lnTo>
                      <a:pt x="139" y="284"/>
                    </a:lnTo>
                    <a:lnTo>
                      <a:pt x="141" y="277"/>
                    </a:lnTo>
                    <a:lnTo>
                      <a:pt x="147" y="271"/>
                    </a:lnTo>
                    <a:lnTo>
                      <a:pt x="152" y="267"/>
                    </a:lnTo>
                    <a:lnTo>
                      <a:pt x="159" y="261"/>
                    </a:lnTo>
                    <a:lnTo>
                      <a:pt x="168" y="258"/>
                    </a:lnTo>
                    <a:lnTo>
                      <a:pt x="176" y="255"/>
                    </a:lnTo>
                    <a:lnTo>
                      <a:pt x="187" y="252"/>
                    </a:lnTo>
                    <a:lnTo>
                      <a:pt x="200" y="252"/>
                    </a:lnTo>
                    <a:lnTo>
                      <a:pt x="200" y="252"/>
                    </a:lnTo>
                    <a:lnTo>
                      <a:pt x="211" y="252"/>
                    </a:lnTo>
                    <a:lnTo>
                      <a:pt x="223" y="255"/>
                    </a:lnTo>
                    <a:lnTo>
                      <a:pt x="232" y="258"/>
                    </a:lnTo>
                    <a:lnTo>
                      <a:pt x="241" y="261"/>
                    </a:lnTo>
                    <a:lnTo>
                      <a:pt x="248" y="265"/>
                    </a:lnTo>
                    <a:lnTo>
                      <a:pt x="255" y="271"/>
                    </a:lnTo>
                    <a:lnTo>
                      <a:pt x="261" y="277"/>
                    </a:lnTo>
                    <a:lnTo>
                      <a:pt x="265" y="283"/>
                    </a:lnTo>
                    <a:lnTo>
                      <a:pt x="273" y="296"/>
                    </a:lnTo>
                    <a:lnTo>
                      <a:pt x="276" y="308"/>
                    </a:lnTo>
                    <a:lnTo>
                      <a:pt x="279" y="319"/>
                    </a:lnTo>
                    <a:lnTo>
                      <a:pt x="279" y="328"/>
                    </a:lnTo>
                    <a:lnTo>
                      <a:pt x="279" y="461"/>
                    </a:lnTo>
                    <a:lnTo>
                      <a:pt x="274" y="461"/>
                    </a:lnTo>
                    <a:lnTo>
                      <a:pt x="274" y="470"/>
                    </a:lnTo>
                    <a:lnTo>
                      <a:pt x="271" y="474"/>
                    </a:lnTo>
                    <a:lnTo>
                      <a:pt x="271" y="554"/>
                    </a:lnTo>
                    <a:lnTo>
                      <a:pt x="271" y="554"/>
                    </a:lnTo>
                    <a:lnTo>
                      <a:pt x="271" y="556"/>
                    </a:lnTo>
                    <a:lnTo>
                      <a:pt x="274" y="557"/>
                    </a:lnTo>
                    <a:lnTo>
                      <a:pt x="392" y="557"/>
                    </a:lnTo>
                    <a:lnTo>
                      <a:pt x="392" y="557"/>
                    </a:lnTo>
                    <a:lnTo>
                      <a:pt x="394" y="556"/>
                    </a:lnTo>
                    <a:lnTo>
                      <a:pt x="395" y="554"/>
                    </a:lnTo>
                    <a:lnTo>
                      <a:pt x="395" y="474"/>
                    </a:lnTo>
                    <a:lnTo>
                      <a:pt x="391" y="470"/>
                    </a:lnTo>
                    <a:lnTo>
                      <a:pt x="391" y="461"/>
                    </a:lnTo>
                    <a:lnTo>
                      <a:pt x="386" y="461"/>
                    </a:lnTo>
                    <a:lnTo>
                      <a:pt x="386" y="299"/>
                    </a:lnTo>
                    <a:lnTo>
                      <a:pt x="389" y="299"/>
                    </a:lnTo>
                    <a:lnTo>
                      <a:pt x="389" y="286"/>
                    </a:lnTo>
                    <a:lnTo>
                      <a:pt x="389" y="286"/>
                    </a:lnTo>
                    <a:lnTo>
                      <a:pt x="392" y="281"/>
                    </a:lnTo>
                    <a:lnTo>
                      <a:pt x="394" y="280"/>
                    </a:lnTo>
                    <a:lnTo>
                      <a:pt x="398" y="279"/>
                    </a:lnTo>
                    <a:lnTo>
                      <a:pt x="398" y="271"/>
                    </a:lnTo>
                    <a:lnTo>
                      <a:pt x="398" y="271"/>
                    </a:lnTo>
                    <a:lnTo>
                      <a:pt x="397" y="270"/>
                    </a:lnTo>
                    <a:lnTo>
                      <a:pt x="395" y="270"/>
                    </a:lnTo>
                    <a:lnTo>
                      <a:pt x="388" y="270"/>
                    </a:lnTo>
                    <a:lnTo>
                      <a:pt x="388" y="270"/>
                    </a:lnTo>
                    <a:lnTo>
                      <a:pt x="386" y="268"/>
                    </a:lnTo>
                    <a:lnTo>
                      <a:pt x="385" y="267"/>
                    </a:lnTo>
                    <a:lnTo>
                      <a:pt x="385" y="220"/>
                    </a:lnTo>
                    <a:lnTo>
                      <a:pt x="388" y="220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217"/>
              <p:cNvSpPr>
                <a:spLocks/>
              </p:cNvSpPr>
              <p:nvPr/>
            </p:nvSpPr>
            <p:spPr bwMode="auto">
              <a:xfrm>
                <a:off x="1152525" y="6769568"/>
                <a:ext cx="411163" cy="650875"/>
              </a:xfrm>
              <a:custGeom>
                <a:avLst/>
                <a:gdLst>
                  <a:gd name="T0" fmla="*/ 240 w 259"/>
                  <a:gd name="T1" fmla="*/ 374 h 410"/>
                  <a:gd name="T2" fmla="*/ 238 w 259"/>
                  <a:gd name="T3" fmla="*/ 362 h 410"/>
                  <a:gd name="T4" fmla="*/ 234 w 259"/>
                  <a:gd name="T5" fmla="*/ 354 h 410"/>
                  <a:gd name="T6" fmla="*/ 225 w 259"/>
                  <a:gd name="T7" fmla="*/ 349 h 410"/>
                  <a:gd name="T8" fmla="*/ 222 w 259"/>
                  <a:gd name="T9" fmla="*/ 348 h 410"/>
                  <a:gd name="T10" fmla="*/ 216 w 259"/>
                  <a:gd name="T11" fmla="*/ 340 h 410"/>
                  <a:gd name="T12" fmla="*/ 216 w 259"/>
                  <a:gd name="T13" fmla="*/ 331 h 410"/>
                  <a:gd name="T14" fmla="*/ 214 w 259"/>
                  <a:gd name="T15" fmla="*/ 327 h 410"/>
                  <a:gd name="T16" fmla="*/ 204 w 259"/>
                  <a:gd name="T17" fmla="*/ 315 h 410"/>
                  <a:gd name="T18" fmla="*/ 201 w 259"/>
                  <a:gd name="T19" fmla="*/ 310 h 410"/>
                  <a:gd name="T20" fmla="*/ 186 w 259"/>
                  <a:gd name="T21" fmla="*/ 310 h 410"/>
                  <a:gd name="T22" fmla="*/ 173 w 259"/>
                  <a:gd name="T23" fmla="*/ 310 h 410"/>
                  <a:gd name="T24" fmla="*/ 173 w 259"/>
                  <a:gd name="T25" fmla="*/ 287 h 410"/>
                  <a:gd name="T26" fmla="*/ 165 w 259"/>
                  <a:gd name="T27" fmla="*/ 278 h 410"/>
                  <a:gd name="T28" fmla="*/ 158 w 259"/>
                  <a:gd name="T29" fmla="*/ 217 h 410"/>
                  <a:gd name="T30" fmla="*/ 131 w 259"/>
                  <a:gd name="T31" fmla="*/ 198 h 410"/>
                  <a:gd name="T32" fmla="*/ 131 w 259"/>
                  <a:gd name="T33" fmla="*/ 195 h 410"/>
                  <a:gd name="T34" fmla="*/ 125 w 259"/>
                  <a:gd name="T35" fmla="*/ 190 h 410"/>
                  <a:gd name="T36" fmla="*/ 121 w 259"/>
                  <a:gd name="T37" fmla="*/ 189 h 410"/>
                  <a:gd name="T38" fmla="*/ 118 w 259"/>
                  <a:gd name="T39" fmla="*/ 42 h 410"/>
                  <a:gd name="T40" fmla="*/ 124 w 259"/>
                  <a:gd name="T41" fmla="*/ 34 h 410"/>
                  <a:gd name="T42" fmla="*/ 131 w 259"/>
                  <a:gd name="T43" fmla="*/ 18 h 410"/>
                  <a:gd name="T44" fmla="*/ 130 w 259"/>
                  <a:gd name="T45" fmla="*/ 16 h 410"/>
                  <a:gd name="T46" fmla="*/ 121 w 259"/>
                  <a:gd name="T47" fmla="*/ 16 h 410"/>
                  <a:gd name="T48" fmla="*/ 116 w 259"/>
                  <a:gd name="T49" fmla="*/ 4 h 410"/>
                  <a:gd name="T50" fmla="*/ 109 w 259"/>
                  <a:gd name="T51" fmla="*/ 0 h 410"/>
                  <a:gd name="T52" fmla="*/ 104 w 259"/>
                  <a:gd name="T53" fmla="*/ 1 h 410"/>
                  <a:gd name="T54" fmla="*/ 98 w 259"/>
                  <a:gd name="T55" fmla="*/ 10 h 410"/>
                  <a:gd name="T56" fmla="*/ 86 w 259"/>
                  <a:gd name="T57" fmla="*/ 16 h 410"/>
                  <a:gd name="T58" fmla="*/ 85 w 259"/>
                  <a:gd name="T59" fmla="*/ 18 h 410"/>
                  <a:gd name="T60" fmla="*/ 89 w 259"/>
                  <a:gd name="T61" fmla="*/ 28 h 410"/>
                  <a:gd name="T62" fmla="*/ 98 w 259"/>
                  <a:gd name="T63" fmla="*/ 42 h 410"/>
                  <a:gd name="T64" fmla="*/ 97 w 259"/>
                  <a:gd name="T65" fmla="*/ 189 h 410"/>
                  <a:gd name="T66" fmla="*/ 92 w 259"/>
                  <a:gd name="T67" fmla="*/ 190 h 410"/>
                  <a:gd name="T68" fmla="*/ 88 w 259"/>
                  <a:gd name="T69" fmla="*/ 195 h 410"/>
                  <a:gd name="T70" fmla="*/ 79 w 259"/>
                  <a:gd name="T71" fmla="*/ 198 h 410"/>
                  <a:gd name="T72" fmla="*/ 71 w 259"/>
                  <a:gd name="T73" fmla="*/ 245 h 410"/>
                  <a:gd name="T74" fmla="*/ 64 w 259"/>
                  <a:gd name="T75" fmla="*/ 256 h 410"/>
                  <a:gd name="T76" fmla="*/ 48 w 259"/>
                  <a:gd name="T77" fmla="*/ 306 h 410"/>
                  <a:gd name="T78" fmla="*/ 36 w 259"/>
                  <a:gd name="T79" fmla="*/ 351 h 410"/>
                  <a:gd name="T80" fmla="*/ 24 w 259"/>
                  <a:gd name="T81" fmla="*/ 373 h 410"/>
                  <a:gd name="T82" fmla="*/ 259 w 259"/>
                  <a:gd name="T83" fmla="*/ 410 h 410"/>
                  <a:gd name="T84" fmla="*/ 259 w 259"/>
                  <a:gd name="T85" fmla="*/ 388 h 410"/>
                  <a:gd name="T86" fmla="*/ 243 w 259"/>
                  <a:gd name="T87" fmla="*/ 377 h 410"/>
                  <a:gd name="T88" fmla="*/ 240 w 259"/>
                  <a:gd name="T89" fmla="*/ 374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9" h="410">
                    <a:moveTo>
                      <a:pt x="240" y="374"/>
                    </a:moveTo>
                    <a:lnTo>
                      <a:pt x="240" y="374"/>
                    </a:lnTo>
                    <a:lnTo>
                      <a:pt x="240" y="370"/>
                    </a:lnTo>
                    <a:lnTo>
                      <a:pt x="238" y="362"/>
                    </a:lnTo>
                    <a:lnTo>
                      <a:pt x="235" y="358"/>
                    </a:lnTo>
                    <a:lnTo>
                      <a:pt x="234" y="354"/>
                    </a:lnTo>
                    <a:lnTo>
                      <a:pt x="229" y="351"/>
                    </a:lnTo>
                    <a:lnTo>
                      <a:pt x="225" y="349"/>
                    </a:lnTo>
                    <a:lnTo>
                      <a:pt x="225" y="349"/>
                    </a:lnTo>
                    <a:lnTo>
                      <a:pt x="222" y="348"/>
                    </a:lnTo>
                    <a:lnTo>
                      <a:pt x="219" y="346"/>
                    </a:lnTo>
                    <a:lnTo>
                      <a:pt x="216" y="340"/>
                    </a:lnTo>
                    <a:lnTo>
                      <a:pt x="216" y="336"/>
                    </a:lnTo>
                    <a:lnTo>
                      <a:pt x="216" y="331"/>
                    </a:lnTo>
                    <a:lnTo>
                      <a:pt x="216" y="331"/>
                    </a:lnTo>
                    <a:lnTo>
                      <a:pt x="214" y="327"/>
                    </a:lnTo>
                    <a:lnTo>
                      <a:pt x="210" y="321"/>
                    </a:lnTo>
                    <a:lnTo>
                      <a:pt x="204" y="315"/>
                    </a:lnTo>
                    <a:lnTo>
                      <a:pt x="201" y="310"/>
                    </a:lnTo>
                    <a:lnTo>
                      <a:pt x="201" y="310"/>
                    </a:lnTo>
                    <a:lnTo>
                      <a:pt x="195" y="310"/>
                    </a:lnTo>
                    <a:lnTo>
                      <a:pt x="186" y="310"/>
                    </a:lnTo>
                    <a:lnTo>
                      <a:pt x="173" y="310"/>
                    </a:lnTo>
                    <a:lnTo>
                      <a:pt x="173" y="310"/>
                    </a:lnTo>
                    <a:lnTo>
                      <a:pt x="173" y="287"/>
                    </a:lnTo>
                    <a:lnTo>
                      <a:pt x="173" y="287"/>
                    </a:lnTo>
                    <a:lnTo>
                      <a:pt x="170" y="284"/>
                    </a:lnTo>
                    <a:lnTo>
                      <a:pt x="165" y="278"/>
                    </a:lnTo>
                    <a:lnTo>
                      <a:pt x="158" y="272"/>
                    </a:lnTo>
                    <a:lnTo>
                      <a:pt x="158" y="217"/>
                    </a:lnTo>
                    <a:lnTo>
                      <a:pt x="147" y="198"/>
                    </a:lnTo>
                    <a:lnTo>
                      <a:pt x="131" y="198"/>
                    </a:lnTo>
                    <a:lnTo>
                      <a:pt x="131" y="198"/>
                    </a:lnTo>
                    <a:lnTo>
                      <a:pt x="131" y="195"/>
                    </a:lnTo>
                    <a:lnTo>
                      <a:pt x="128" y="192"/>
                    </a:lnTo>
                    <a:lnTo>
                      <a:pt x="125" y="190"/>
                    </a:lnTo>
                    <a:lnTo>
                      <a:pt x="121" y="189"/>
                    </a:lnTo>
                    <a:lnTo>
                      <a:pt x="121" y="189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24" y="34"/>
                    </a:lnTo>
                    <a:lnTo>
                      <a:pt x="127" y="2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0" y="16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9" y="10"/>
                    </a:lnTo>
                    <a:lnTo>
                      <a:pt x="116" y="4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4" y="1"/>
                    </a:lnTo>
                    <a:lnTo>
                      <a:pt x="101" y="4"/>
                    </a:lnTo>
                    <a:lnTo>
                      <a:pt x="98" y="10"/>
                    </a:lnTo>
                    <a:lnTo>
                      <a:pt x="97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9" y="28"/>
                    </a:lnTo>
                    <a:lnTo>
                      <a:pt x="92" y="3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2" y="190"/>
                    </a:lnTo>
                    <a:lnTo>
                      <a:pt x="89" y="192"/>
                    </a:lnTo>
                    <a:lnTo>
                      <a:pt x="88" y="195"/>
                    </a:lnTo>
                    <a:lnTo>
                      <a:pt x="88" y="198"/>
                    </a:lnTo>
                    <a:lnTo>
                      <a:pt x="79" y="198"/>
                    </a:lnTo>
                    <a:lnTo>
                      <a:pt x="79" y="241"/>
                    </a:lnTo>
                    <a:lnTo>
                      <a:pt x="71" y="245"/>
                    </a:lnTo>
                    <a:lnTo>
                      <a:pt x="71" y="256"/>
                    </a:lnTo>
                    <a:lnTo>
                      <a:pt x="64" y="256"/>
                    </a:lnTo>
                    <a:lnTo>
                      <a:pt x="64" y="288"/>
                    </a:lnTo>
                    <a:lnTo>
                      <a:pt x="48" y="306"/>
                    </a:lnTo>
                    <a:lnTo>
                      <a:pt x="48" y="339"/>
                    </a:lnTo>
                    <a:lnTo>
                      <a:pt x="36" y="351"/>
                    </a:lnTo>
                    <a:lnTo>
                      <a:pt x="36" y="373"/>
                    </a:lnTo>
                    <a:lnTo>
                      <a:pt x="24" y="373"/>
                    </a:lnTo>
                    <a:lnTo>
                      <a:pt x="0" y="406"/>
                    </a:lnTo>
                    <a:lnTo>
                      <a:pt x="259" y="410"/>
                    </a:lnTo>
                    <a:lnTo>
                      <a:pt x="259" y="388"/>
                    </a:lnTo>
                    <a:lnTo>
                      <a:pt x="259" y="388"/>
                    </a:lnTo>
                    <a:lnTo>
                      <a:pt x="250" y="382"/>
                    </a:lnTo>
                    <a:lnTo>
                      <a:pt x="243" y="377"/>
                    </a:lnTo>
                    <a:lnTo>
                      <a:pt x="240" y="374"/>
                    </a:lnTo>
                    <a:lnTo>
                      <a:pt x="240" y="37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222"/>
              <p:cNvSpPr>
                <a:spLocks noEditPoints="1"/>
              </p:cNvSpPr>
              <p:nvPr/>
            </p:nvSpPr>
            <p:spPr bwMode="auto">
              <a:xfrm>
                <a:off x="8566451" y="6627474"/>
                <a:ext cx="1365732" cy="783443"/>
              </a:xfrm>
              <a:custGeom>
                <a:avLst/>
                <a:gdLst>
                  <a:gd name="T0" fmla="*/ 570 w 1032"/>
                  <a:gd name="T1" fmla="*/ 204 h 592"/>
                  <a:gd name="T2" fmla="*/ 602 w 1032"/>
                  <a:gd name="T3" fmla="*/ 192 h 592"/>
                  <a:gd name="T4" fmla="*/ 588 w 1032"/>
                  <a:gd name="T5" fmla="*/ 160 h 592"/>
                  <a:gd name="T6" fmla="*/ 548 w 1032"/>
                  <a:gd name="T7" fmla="*/ 104 h 592"/>
                  <a:gd name="T8" fmla="*/ 540 w 1032"/>
                  <a:gd name="T9" fmla="*/ 80 h 592"/>
                  <a:gd name="T10" fmla="*/ 526 w 1032"/>
                  <a:gd name="T11" fmla="*/ 64 h 592"/>
                  <a:gd name="T12" fmla="*/ 474 w 1032"/>
                  <a:gd name="T13" fmla="*/ 2 h 592"/>
                  <a:gd name="T14" fmla="*/ 494 w 1032"/>
                  <a:gd name="T15" fmla="*/ 76 h 592"/>
                  <a:gd name="T16" fmla="*/ 462 w 1032"/>
                  <a:gd name="T17" fmla="*/ 104 h 592"/>
                  <a:gd name="T18" fmla="*/ 510 w 1032"/>
                  <a:gd name="T19" fmla="*/ 116 h 592"/>
                  <a:gd name="T20" fmla="*/ 476 w 1032"/>
                  <a:gd name="T21" fmla="*/ 120 h 592"/>
                  <a:gd name="T22" fmla="*/ 464 w 1032"/>
                  <a:gd name="T23" fmla="*/ 148 h 592"/>
                  <a:gd name="T24" fmla="*/ 456 w 1032"/>
                  <a:gd name="T25" fmla="*/ 184 h 592"/>
                  <a:gd name="T26" fmla="*/ 434 w 1032"/>
                  <a:gd name="T27" fmla="*/ 204 h 592"/>
                  <a:gd name="T28" fmla="*/ 0 w 1032"/>
                  <a:gd name="T29" fmla="*/ 278 h 592"/>
                  <a:gd name="T30" fmla="*/ 60 w 1032"/>
                  <a:gd name="T31" fmla="*/ 344 h 592"/>
                  <a:gd name="T32" fmla="*/ 70 w 1032"/>
                  <a:gd name="T33" fmla="*/ 532 h 592"/>
                  <a:gd name="T34" fmla="*/ 56 w 1032"/>
                  <a:gd name="T35" fmla="*/ 554 h 592"/>
                  <a:gd name="T36" fmla="*/ 970 w 1032"/>
                  <a:gd name="T37" fmla="*/ 546 h 592"/>
                  <a:gd name="T38" fmla="*/ 958 w 1032"/>
                  <a:gd name="T39" fmla="*/ 370 h 592"/>
                  <a:gd name="T40" fmla="*/ 988 w 1032"/>
                  <a:gd name="T41" fmla="*/ 330 h 592"/>
                  <a:gd name="T42" fmla="*/ 158 w 1032"/>
                  <a:gd name="T43" fmla="*/ 532 h 592"/>
                  <a:gd name="T44" fmla="*/ 142 w 1032"/>
                  <a:gd name="T45" fmla="*/ 546 h 592"/>
                  <a:gd name="T46" fmla="*/ 112 w 1032"/>
                  <a:gd name="T47" fmla="*/ 538 h 592"/>
                  <a:gd name="T48" fmla="*/ 108 w 1032"/>
                  <a:gd name="T49" fmla="*/ 362 h 592"/>
                  <a:gd name="T50" fmla="*/ 158 w 1032"/>
                  <a:gd name="T51" fmla="*/ 532 h 592"/>
                  <a:gd name="T52" fmla="*/ 228 w 1032"/>
                  <a:gd name="T53" fmla="*/ 546 h 592"/>
                  <a:gd name="T54" fmla="*/ 196 w 1032"/>
                  <a:gd name="T55" fmla="*/ 542 h 592"/>
                  <a:gd name="T56" fmla="*/ 190 w 1032"/>
                  <a:gd name="T57" fmla="*/ 362 h 592"/>
                  <a:gd name="T58" fmla="*/ 240 w 1032"/>
                  <a:gd name="T59" fmla="*/ 370 h 592"/>
                  <a:gd name="T60" fmla="*/ 310 w 1032"/>
                  <a:gd name="T61" fmla="*/ 542 h 592"/>
                  <a:gd name="T62" fmla="*/ 282 w 1032"/>
                  <a:gd name="T63" fmla="*/ 542 h 592"/>
                  <a:gd name="T64" fmla="*/ 272 w 1032"/>
                  <a:gd name="T65" fmla="*/ 370 h 592"/>
                  <a:gd name="T66" fmla="*/ 320 w 1032"/>
                  <a:gd name="T67" fmla="*/ 370 h 592"/>
                  <a:gd name="T68" fmla="*/ 574 w 1032"/>
                  <a:gd name="T69" fmla="*/ 170 h 592"/>
                  <a:gd name="T70" fmla="*/ 556 w 1032"/>
                  <a:gd name="T71" fmla="*/ 174 h 592"/>
                  <a:gd name="T72" fmla="*/ 546 w 1032"/>
                  <a:gd name="T73" fmla="*/ 130 h 592"/>
                  <a:gd name="T74" fmla="*/ 544 w 1032"/>
                  <a:gd name="T75" fmla="*/ 110 h 592"/>
                  <a:gd name="T76" fmla="*/ 548 w 1032"/>
                  <a:gd name="T77" fmla="*/ 162 h 592"/>
                  <a:gd name="T78" fmla="*/ 552 w 1032"/>
                  <a:gd name="T79" fmla="*/ 150 h 592"/>
                  <a:gd name="T80" fmla="*/ 496 w 1032"/>
                  <a:gd name="T81" fmla="*/ 152 h 592"/>
                  <a:gd name="T82" fmla="*/ 514 w 1032"/>
                  <a:gd name="T83" fmla="*/ 170 h 592"/>
                  <a:gd name="T84" fmla="*/ 490 w 1032"/>
                  <a:gd name="T85" fmla="*/ 152 h 592"/>
                  <a:gd name="T86" fmla="*/ 502 w 1032"/>
                  <a:gd name="T87" fmla="*/ 180 h 592"/>
                  <a:gd name="T88" fmla="*/ 486 w 1032"/>
                  <a:gd name="T89" fmla="*/ 178 h 592"/>
                  <a:gd name="T90" fmla="*/ 464 w 1032"/>
                  <a:gd name="T91" fmla="*/ 180 h 592"/>
                  <a:gd name="T92" fmla="*/ 588 w 1032"/>
                  <a:gd name="T93" fmla="*/ 554 h 592"/>
                  <a:gd name="T94" fmla="*/ 464 w 1032"/>
                  <a:gd name="T95" fmla="*/ 336 h 592"/>
                  <a:gd name="T96" fmla="*/ 542 w 1032"/>
                  <a:gd name="T97" fmla="*/ 314 h 592"/>
                  <a:gd name="T98" fmla="*/ 588 w 1032"/>
                  <a:gd name="T99" fmla="*/ 380 h 592"/>
                  <a:gd name="T100" fmla="*/ 752 w 1032"/>
                  <a:gd name="T101" fmla="*/ 538 h 592"/>
                  <a:gd name="T102" fmla="*/ 726 w 1032"/>
                  <a:gd name="T103" fmla="*/ 546 h 592"/>
                  <a:gd name="T104" fmla="*/ 710 w 1032"/>
                  <a:gd name="T105" fmla="*/ 532 h 592"/>
                  <a:gd name="T106" fmla="*/ 756 w 1032"/>
                  <a:gd name="T107" fmla="*/ 362 h 592"/>
                  <a:gd name="T108" fmla="*/ 840 w 1032"/>
                  <a:gd name="T109" fmla="*/ 538 h 592"/>
                  <a:gd name="T110" fmla="*/ 806 w 1032"/>
                  <a:gd name="T111" fmla="*/ 554 h 592"/>
                  <a:gd name="T112" fmla="*/ 794 w 1032"/>
                  <a:gd name="T113" fmla="*/ 532 h 592"/>
                  <a:gd name="T114" fmla="*/ 838 w 1032"/>
                  <a:gd name="T115" fmla="*/ 344 h 592"/>
                  <a:gd name="T116" fmla="*/ 924 w 1032"/>
                  <a:gd name="T117" fmla="*/ 532 h 592"/>
                  <a:gd name="T118" fmla="*/ 912 w 1032"/>
                  <a:gd name="T119" fmla="*/ 554 h 592"/>
                  <a:gd name="T120" fmla="*/ 876 w 1032"/>
                  <a:gd name="T121" fmla="*/ 538 h 592"/>
                  <a:gd name="T122" fmla="*/ 878 w 1032"/>
                  <a:gd name="T123" fmla="*/ 344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2" h="592">
                    <a:moveTo>
                      <a:pt x="686" y="278"/>
                    </a:moveTo>
                    <a:lnTo>
                      <a:pt x="686" y="218"/>
                    </a:lnTo>
                    <a:lnTo>
                      <a:pt x="690" y="218"/>
                    </a:lnTo>
                    <a:lnTo>
                      <a:pt x="690" y="210"/>
                    </a:lnTo>
                    <a:lnTo>
                      <a:pt x="698" y="210"/>
                    </a:lnTo>
                    <a:lnTo>
                      <a:pt x="698" y="204"/>
                    </a:lnTo>
                    <a:lnTo>
                      <a:pt x="570" y="204"/>
                    </a:lnTo>
                    <a:lnTo>
                      <a:pt x="570" y="204"/>
                    </a:lnTo>
                    <a:lnTo>
                      <a:pt x="582" y="184"/>
                    </a:lnTo>
                    <a:lnTo>
                      <a:pt x="582" y="184"/>
                    </a:lnTo>
                    <a:lnTo>
                      <a:pt x="588" y="172"/>
                    </a:lnTo>
                    <a:lnTo>
                      <a:pt x="600" y="190"/>
                    </a:lnTo>
                    <a:lnTo>
                      <a:pt x="600" y="190"/>
                    </a:lnTo>
                    <a:lnTo>
                      <a:pt x="602" y="192"/>
                    </a:lnTo>
                    <a:lnTo>
                      <a:pt x="602" y="192"/>
                    </a:lnTo>
                    <a:lnTo>
                      <a:pt x="604" y="192"/>
                    </a:lnTo>
                    <a:lnTo>
                      <a:pt x="604" y="192"/>
                    </a:lnTo>
                    <a:lnTo>
                      <a:pt x="606" y="190"/>
                    </a:lnTo>
                    <a:lnTo>
                      <a:pt x="606" y="188"/>
                    </a:lnTo>
                    <a:lnTo>
                      <a:pt x="588" y="160"/>
                    </a:lnTo>
                    <a:lnTo>
                      <a:pt x="588" y="160"/>
                    </a:lnTo>
                    <a:lnTo>
                      <a:pt x="586" y="152"/>
                    </a:lnTo>
                    <a:lnTo>
                      <a:pt x="586" y="152"/>
                    </a:lnTo>
                    <a:lnTo>
                      <a:pt x="584" y="144"/>
                    </a:lnTo>
                    <a:lnTo>
                      <a:pt x="580" y="142"/>
                    </a:lnTo>
                    <a:lnTo>
                      <a:pt x="578" y="140"/>
                    </a:lnTo>
                    <a:lnTo>
                      <a:pt x="574" y="142"/>
                    </a:lnTo>
                    <a:lnTo>
                      <a:pt x="548" y="104"/>
                    </a:lnTo>
                    <a:lnTo>
                      <a:pt x="548" y="104"/>
                    </a:lnTo>
                    <a:lnTo>
                      <a:pt x="550" y="98"/>
                    </a:lnTo>
                    <a:lnTo>
                      <a:pt x="548" y="90"/>
                    </a:lnTo>
                    <a:lnTo>
                      <a:pt x="548" y="90"/>
                    </a:lnTo>
                    <a:lnTo>
                      <a:pt x="548" y="88"/>
                    </a:lnTo>
                    <a:lnTo>
                      <a:pt x="546" y="84"/>
                    </a:lnTo>
                    <a:lnTo>
                      <a:pt x="540" y="80"/>
                    </a:lnTo>
                    <a:lnTo>
                      <a:pt x="532" y="78"/>
                    </a:lnTo>
                    <a:lnTo>
                      <a:pt x="532" y="78"/>
                    </a:lnTo>
                    <a:lnTo>
                      <a:pt x="534" y="72"/>
                    </a:lnTo>
                    <a:lnTo>
                      <a:pt x="532" y="68"/>
                    </a:lnTo>
                    <a:lnTo>
                      <a:pt x="530" y="66"/>
                    </a:lnTo>
                    <a:lnTo>
                      <a:pt x="526" y="64"/>
                    </a:lnTo>
                    <a:lnTo>
                      <a:pt x="526" y="64"/>
                    </a:lnTo>
                    <a:lnTo>
                      <a:pt x="522" y="64"/>
                    </a:lnTo>
                    <a:lnTo>
                      <a:pt x="478" y="2"/>
                    </a:lnTo>
                    <a:lnTo>
                      <a:pt x="478" y="2"/>
                    </a:lnTo>
                    <a:lnTo>
                      <a:pt x="476" y="0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4" y="2"/>
                    </a:lnTo>
                    <a:lnTo>
                      <a:pt x="474" y="4"/>
                    </a:lnTo>
                    <a:lnTo>
                      <a:pt x="516" y="68"/>
                    </a:lnTo>
                    <a:lnTo>
                      <a:pt x="516" y="68"/>
                    </a:lnTo>
                    <a:lnTo>
                      <a:pt x="512" y="74"/>
                    </a:lnTo>
                    <a:lnTo>
                      <a:pt x="512" y="74"/>
                    </a:lnTo>
                    <a:lnTo>
                      <a:pt x="502" y="74"/>
                    </a:lnTo>
                    <a:lnTo>
                      <a:pt x="494" y="76"/>
                    </a:lnTo>
                    <a:lnTo>
                      <a:pt x="482" y="84"/>
                    </a:lnTo>
                    <a:lnTo>
                      <a:pt x="482" y="84"/>
                    </a:lnTo>
                    <a:lnTo>
                      <a:pt x="464" y="98"/>
                    </a:lnTo>
                    <a:lnTo>
                      <a:pt x="460" y="102"/>
                    </a:lnTo>
                    <a:lnTo>
                      <a:pt x="460" y="104"/>
                    </a:lnTo>
                    <a:lnTo>
                      <a:pt x="462" y="104"/>
                    </a:lnTo>
                    <a:lnTo>
                      <a:pt x="462" y="104"/>
                    </a:lnTo>
                    <a:lnTo>
                      <a:pt x="472" y="104"/>
                    </a:lnTo>
                    <a:lnTo>
                      <a:pt x="484" y="104"/>
                    </a:lnTo>
                    <a:lnTo>
                      <a:pt x="502" y="100"/>
                    </a:lnTo>
                    <a:lnTo>
                      <a:pt x="502" y="100"/>
                    </a:lnTo>
                    <a:lnTo>
                      <a:pt x="502" y="106"/>
                    </a:lnTo>
                    <a:lnTo>
                      <a:pt x="504" y="110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8"/>
                    </a:lnTo>
                    <a:lnTo>
                      <a:pt x="504" y="118"/>
                    </a:lnTo>
                    <a:lnTo>
                      <a:pt x="484" y="120"/>
                    </a:lnTo>
                    <a:lnTo>
                      <a:pt x="484" y="120"/>
                    </a:lnTo>
                    <a:lnTo>
                      <a:pt x="476" y="120"/>
                    </a:lnTo>
                    <a:lnTo>
                      <a:pt x="470" y="124"/>
                    </a:lnTo>
                    <a:lnTo>
                      <a:pt x="466" y="130"/>
                    </a:lnTo>
                    <a:lnTo>
                      <a:pt x="464" y="136"/>
                    </a:lnTo>
                    <a:lnTo>
                      <a:pt x="464" y="136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4" y="148"/>
                    </a:lnTo>
                    <a:lnTo>
                      <a:pt x="460" y="156"/>
                    </a:lnTo>
                    <a:lnTo>
                      <a:pt x="452" y="168"/>
                    </a:lnTo>
                    <a:lnTo>
                      <a:pt x="452" y="168"/>
                    </a:lnTo>
                    <a:lnTo>
                      <a:pt x="450" y="172"/>
                    </a:lnTo>
                    <a:lnTo>
                      <a:pt x="452" y="176"/>
                    </a:lnTo>
                    <a:lnTo>
                      <a:pt x="454" y="184"/>
                    </a:lnTo>
                    <a:lnTo>
                      <a:pt x="456" y="184"/>
                    </a:lnTo>
                    <a:lnTo>
                      <a:pt x="456" y="184"/>
                    </a:lnTo>
                    <a:lnTo>
                      <a:pt x="448" y="188"/>
                    </a:lnTo>
                    <a:lnTo>
                      <a:pt x="448" y="188"/>
                    </a:lnTo>
                    <a:lnTo>
                      <a:pt x="444" y="188"/>
                    </a:lnTo>
                    <a:lnTo>
                      <a:pt x="442" y="192"/>
                    </a:lnTo>
                    <a:lnTo>
                      <a:pt x="434" y="204"/>
                    </a:lnTo>
                    <a:lnTo>
                      <a:pt x="434" y="204"/>
                    </a:lnTo>
                    <a:lnTo>
                      <a:pt x="338" y="204"/>
                    </a:lnTo>
                    <a:lnTo>
                      <a:pt x="338" y="210"/>
                    </a:lnTo>
                    <a:lnTo>
                      <a:pt x="346" y="210"/>
                    </a:lnTo>
                    <a:lnTo>
                      <a:pt x="346" y="218"/>
                    </a:lnTo>
                    <a:lnTo>
                      <a:pt x="350" y="218"/>
                    </a:lnTo>
                    <a:lnTo>
                      <a:pt x="350" y="278"/>
                    </a:lnTo>
                    <a:lnTo>
                      <a:pt x="0" y="278"/>
                    </a:lnTo>
                    <a:lnTo>
                      <a:pt x="0" y="290"/>
                    </a:lnTo>
                    <a:lnTo>
                      <a:pt x="18" y="304"/>
                    </a:lnTo>
                    <a:lnTo>
                      <a:pt x="34" y="304"/>
                    </a:lnTo>
                    <a:lnTo>
                      <a:pt x="44" y="314"/>
                    </a:lnTo>
                    <a:lnTo>
                      <a:pt x="44" y="330"/>
                    </a:lnTo>
                    <a:lnTo>
                      <a:pt x="60" y="330"/>
                    </a:lnTo>
                    <a:lnTo>
                      <a:pt x="60" y="344"/>
                    </a:lnTo>
                    <a:lnTo>
                      <a:pt x="68" y="344"/>
                    </a:lnTo>
                    <a:lnTo>
                      <a:pt x="68" y="362"/>
                    </a:lnTo>
                    <a:lnTo>
                      <a:pt x="72" y="362"/>
                    </a:lnTo>
                    <a:lnTo>
                      <a:pt x="72" y="370"/>
                    </a:lnTo>
                    <a:lnTo>
                      <a:pt x="74" y="370"/>
                    </a:lnTo>
                    <a:lnTo>
                      <a:pt x="74" y="532"/>
                    </a:lnTo>
                    <a:lnTo>
                      <a:pt x="70" y="532"/>
                    </a:lnTo>
                    <a:lnTo>
                      <a:pt x="70" y="538"/>
                    </a:lnTo>
                    <a:lnTo>
                      <a:pt x="64" y="538"/>
                    </a:lnTo>
                    <a:lnTo>
                      <a:pt x="64" y="542"/>
                    </a:lnTo>
                    <a:lnTo>
                      <a:pt x="60" y="542"/>
                    </a:lnTo>
                    <a:lnTo>
                      <a:pt x="60" y="546"/>
                    </a:lnTo>
                    <a:lnTo>
                      <a:pt x="56" y="546"/>
                    </a:lnTo>
                    <a:lnTo>
                      <a:pt x="56" y="554"/>
                    </a:lnTo>
                    <a:lnTo>
                      <a:pt x="34" y="554"/>
                    </a:lnTo>
                    <a:lnTo>
                      <a:pt x="34" y="592"/>
                    </a:lnTo>
                    <a:lnTo>
                      <a:pt x="1004" y="592"/>
                    </a:lnTo>
                    <a:lnTo>
                      <a:pt x="1004" y="554"/>
                    </a:lnTo>
                    <a:lnTo>
                      <a:pt x="974" y="554"/>
                    </a:lnTo>
                    <a:lnTo>
                      <a:pt x="974" y="546"/>
                    </a:lnTo>
                    <a:lnTo>
                      <a:pt x="970" y="546"/>
                    </a:lnTo>
                    <a:lnTo>
                      <a:pt x="970" y="542"/>
                    </a:lnTo>
                    <a:lnTo>
                      <a:pt x="966" y="542"/>
                    </a:lnTo>
                    <a:lnTo>
                      <a:pt x="966" y="538"/>
                    </a:lnTo>
                    <a:lnTo>
                      <a:pt x="962" y="538"/>
                    </a:lnTo>
                    <a:lnTo>
                      <a:pt x="962" y="532"/>
                    </a:lnTo>
                    <a:lnTo>
                      <a:pt x="958" y="532"/>
                    </a:lnTo>
                    <a:lnTo>
                      <a:pt x="958" y="370"/>
                    </a:lnTo>
                    <a:lnTo>
                      <a:pt x="960" y="370"/>
                    </a:lnTo>
                    <a:lnTo>
                      <a:pt x="960" y="362"/>
                    </a:lnTo>
                    <a:lnTo>
                      <a:pt x="964" y="362"/>
                    </a:lnTo>
                    <a:lnTo>
                      <a:pt x="964" y="344"/>
                    </a:lnTo>
                    <a:lnTo>
                      <a:pt x="972" y="344"/>
                    </a:lnTo>
                    <a:lnTo>
                      <a:pt x="972" y="330"/>
                    </a:lnTo>
                    <a:lnTo>
                      <a:pt x="988" y="330"/>
                    </a:lnTo>
                    <a:lnTo>
                      <a:pt x="988" y="314"/>
                    </a:lnTo>
                    <a:lnTo>
                      <a:pt x="998" y="304"/>
                    </a:lnTo>
                    <a:lnTo>
                      <a:pt x="1014" y="304"/>
                    </a:lnTo>
                    <a:lnTo>
                      <a:pt x="1032" y="290"/>
                    </a:lnTo>
                    <a:lnTo>
                      <a:pt x="1032" y="278"/>
                    </a:lnTo>
                    <a:lnTo>
                      <a:pt x="686" y="278"/>
                    </a:lnTo>
                    <a:close/>
                    <a:moveTo>
                      <a:pt x="158" y="532"/>
                    </a:moveTo>
                    <a:lnTo>
                      <a:pt x="154" y="532"/>
                    </a:lnTo>
                    <a:lnTo>
                      <a:pt x="154" y="538"/>
                    </a:lnTo>
                    <a:lnTo>
                      <a:pt x="150" y="538"/>
                    </a:lnTo>
                    <a:lnTo>
                      <a:pt x="150" y="542"/>
                    </a:lnTo>
                    <a:lnTo>
                      <a:pt x="146" y="542"/>
                    </a:lnTo>
                    <a:lnTo>
                      <a:pt x="146" y="546"/>
                    </a:lnTo>
                    <a:lnTo>
                      <a:pt x="142" y="546"/>
                    </a:lnTo>
                    <a:lnTo>
                      <a:pt x="142" y="554"/>
                    </a:lnTo>
                    <a:lnTo>
                      <a:pt x="120" y="554"/>
                    </a:lnTo>
                    <a:lnTo>
                      <a:pt x="120" y="546"/>
                    </a:lnTo>
                    <a:lnTo>
                      <a:pt x="116" y="546"/>
                    </a:lnTo>
                    <a:lnTo>
                      <a:pt x="116" y="542"/>
                    </a:lnTo>
                    <a:lnTo>
                      <a:pt x="112" y="542"/>
                    </a:lnTo>
                    <a:lnTo>
                      <a:pt x="112" y="538"/>
                    </a:lnTo>
                    <a:lnTo>
                      <a:pt x="106" y="538"/>
                    </a:lnTo>
                    <a:lnTo>
                      <a:pt x="106" y="532"/>
                    </a:lnTo>
                    <a:lnTo>
                      <a:pt x="102" y="532"/>
                    </a:lnTo>
                    <a:lnTo>
                      <a:pt x="102" y="370"/>
                    </a:lnTo>
                    <a:lnTo>
                      <a:pt x="104" y="370"/>
                    </a:lnTo>
                    <a:lnTo>
                      <a:pt x="104" y="362"/>
                    </a:lnTo>
                    <a:lnTo>
                      <a:pt x="108" y="362"/>
                    </a:lnTo>
                    <a:lnTo>
                      <a:pt x="108" y="344"/>
                    </a:lnTo>
                    <a:lnTo>
                      <a:pt x="152" y="344"/>
                    </a:lnTo>
                    <a:lnTo>
                      <a:pt x="152" y="362"/>
                    </a:lnTo>
                    <a:lnTo>
                      <a:pt x="156" y="362"/>
                    </a:lnTo>
                    <a:lnTo>
                      <a:pt x="156" y="370"/>
                    </a:lnTo>
                    <a:lnTo>
                      <a:pt x="158" y="370"/>
                    </a:lnTo>
                    <a:lnTo>
                      <a:pt x="158" y="532"/>
                    </a:lnTo>
                    <a:close/>
                    <a:moveTo>
                      <a:pt x="240" y="532"/>
                    </a:moveTo>
                    <a:lnTo>
                      <a:pt x="238" y="532"/>
                    </a:lnTo>
                    <a:lnTo>
                      <a:pt x="238" y="538"/>
                    </a:lnTo>
                    <a:lnTo>
                      <a:pt x="232" y="538"/>
                    </a:lnTo>
                    <a:lnTo>
                      <a:pt x="232" y="542"/>
                    </a:lnTo>
                    <a:lnTo>
                      <a:pt x="228" y="542"/>
                    </a:lnTo>
                    <a:lnTo>
                      <a:pt x="228" y="546"/>
                    </a:lnTo>
                    <a:lnTo>
                      <a:pt x="224" y="546"/>
                    </a:lnTo>
                    <a:lnTo>
                      <a:pt x="224" y="554"/>
                    </a:lnTo>
                    <a:lnTo>
                      <a:pt x="204" y="554"/>
                    </a:lnTo>
                    <a:lnTo>
                      <a:pt x="204" y="546"/>
                    </a:lnTo>
                    <a:lnTo>
                      <a:pt x="200" y="546"/>
                    </a:lnTo>
                    <a:lnTo>
                      <a:pt x="200" y="542"/>
                    </a:lnTo>
                    <a:lnTo>
                      <a:pt x="196" y="542"/>
                    </a:lnTo>
                    <a:lnTo>
                      <a:pt x="196" y="538"/>
                    </a:lnTo>
                    <a:lnTo>
                      <a:pt x="192" y="538"/>
                    </a:lnTo>
                    <a:lnTo>
                      <a:pt x="192" y="532"/>
                    </a:lnTo>
                    <a:lnTo>
                      <a:pt x="188" y="532"/>
                    </a:lnTo>
                    <a:lnTo>
                      <a:pt x="188" y="370"/>
                    </a:lnTo>
                    <a:lnTo>
                      <a:pt x="190" y="370"/>
                    </a:lnTo>
                    <a:lnTo>
                      <a:pt x="190" y="362"/>
                    </a:lnTo>
                    <a:lnTo>
                      <a:pt x="194" y="362"/>
                    </a:lnTo>
                    <a:lnTo>
                      <a:pt x="194" y="344"/>
                    </a:lnTo>
                    <a:lnTo>
                      <a:pt x="236" y="344"/>
                    </a:lnTo>
                    <a:lnTo>
                      <a:pt x="236" y="362"/>
                    </a:lnTo>
                    <a:lnTo>
                      <a:pt x="238" y="362"/>
                    </a:lnTo>
                    <a:lnTo>
                      <a:pt x="238" y="370"/>
                    </a:lnTo>
                    <a:lnTo>
                      <a:pt x="240" y="370"/>
                    </a:lnTo>
                    <a:lnTo>
                      <a:pt x="240" y="532"/>
                    </a:lnTo>
                    <a:close/>
                    <a:moveTo>
                      <a:pt x="322" y="532"/>
                    </a:moveTo>
                    <a:lnTo>
                      <a:pt x="318" y="532"/>
                    </a:lnTo>
                    <a:lnTo>
                      <a:pt x="318" y="538"/>
                    </a:lnTo>
                    <a:lnTo>
                      <a:pt x="312" y="538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10" y="546"/>
                    </a:lnTo>
                    <a:lnTo>
                      <a:pt x="306" y="546"/>
                    </a:lnTo>
                    <a:lnTo>
                      <a:pt x="306" y="554"/>
                    </a:lnTo>
                    <a:lnTo>
                      <a:pt x="286" y="554"/>
                    </a:lnTo>
                    <a:lnTo>
                      <a:pt x="286" y="546"/>
                    </a:lnTo>
                    <a:lnTo>
                      <a:pt x="282" y="546"/>
                    </a:lnTo>
                    <a:lnTo>
                      <a:pt x="282" y="542"/>
                    </a:lnTo>
                    <a:lnTo>
                      <a:pt x="280" y="542"/>
                    </a:lnTo>
                    <a:lnTo>
                      <a:pt x="280" y="538"/>
                    </a:lnTo>
                    <a:lnTo>
                      <a:pt x="274" y="538"/>
                    </a:lnTo>
                    <a:lnTo>
                      <a:pt x="274" y="532"/>
                    </a:lnTo>
                    <a:lnTo>
                      <a:pt x="270" y="532"/>
                    </a:lnTo>
                    <a:lnTo>
                      <a:pt x="270" y="370"/>
                    </a:lnTo>
                    <a:lnTo>
                      <a:pt x="272" y="370"/>
                    </a:lnTo>
                    <a:lnTo>
                      <a:pt x="272" y="362"/>
                    </a:lnTo>
                    <a:lnTo>
                      <a:pt x="276" y="362"/>
                    </a:lnTo>
                    <a:lnTo>
                      <a:pt x="276" y="344"/>
                    </a:lnTo>
                    <a:lnTo>
                      <a:pt x="316" y="344"/>
                    </a:lnTo>
                    <a:lnTo>
                      <a:pt x="316" y="362"/>
                    </a:lnTo>
                    <a:lnTo>
                      <a:pt x="320" y="362"/>
                    </a:lnTo>
                    <a:lnTo>
                      <a:pt x="320" y="370"/>
                    </a:lnTo>
                    <a:lnTo>
                      <a:pt x="322" y="370"/>
                    </a:lnTo>
                    <a:lnTo>
                      <a:pt x="322" y="532"/>
                    </a:lnTo>
                    <a:close/>
                    <a:moveTo>
                      <a:pt x="570" y="146"/>
                    </a:moveTo>
                    <a:lnTo>
                      <a:pt x="570" y="146"/>
                    </a:lnTo>
                    <a:lnTo>
                      <a:pt x="574" y="164"/>
                    </a:lnTo>
                    <a:lnTo>
                      <a:pt x="574" y="164"/>
                    </a:lnTo>
                    <a:lnTo>
                      <a:pt x="574" y="170"/>
                    </a:lnTo>
                    <a:lnTo>
                      <a:pt x="570" y="176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58" y="186"/>
                    </a:lnTo>
                    <a:lnTo>
                      <a:pt x="556" y="186"/>
                    </a:lnTo>
                    <a:lnTo>
                      <a:pt x="554" y="182"/>
                    </a:lnTo>
                    <a:lnTo>
                      <a:pt x="556" y="174"/>
                    </a:lnTo>
                    <a:lnTo>
                      <a:pt x="556" y="174"/>
                    </a:lnTo>
                    <a:lnTo>
                      <a:pt x="558" y="170"/>
                    </a:lnTo>
                    <a:lnTo>
                      <a:pt x="560" y="166"/>
                    </a:lnTo>
                    <a:lnTo>
                      <a:pt x="562" y="158"/>
                    </a:lnTo>
                    <a:lnTo>
                      <a:pt x="560" y="152"/>
                    </a:lnTo>
                    <a:lnTo>
                      <a:pt x="560" y="15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2" y="128"/>
                    </a:lnTo>
                    <a:lnTo>
                      <a:pt x="540" y="126"/>
                    </a:lnTo>
                    <a:lnTo>
                      <a:pt x="542" y="112"/>
                    </a:lnTo>
                    <a:lnTo>
                      <a:pt x="542" y="112"/>
                    </a:lnTo>
                    <a:lnTo>
                      <a:pt x="544" y="110"/>
                    </a:lnTo>
                    <a:lnTo>
                      <a:pt x="570" y="146"/>
                    </a:lnTo>
                    <a:close/>
                    <a:moveTo>
                      <a:pt x="554" y="166"/>
                    </a:moveTo>
                    <a:lnTo>
                      <a:pt x="554" y="166"/>
                    </a:lnTo>
                    <a:lnTo>
                      <a:pt x="554" y="166"/>
                    </a:lnTo>
                    <a:lnTo>
                      <a:pt x="554" y="166"/>
                    </a:lnTo>
                    <a:lnTo>
                      <a:pt x="550" y="164"/>
                    </a:lnTo>
                    <a:lnTo>
                      <a:pt x="548" y="162"/>
                    </a:lnTo>
                    <a:lnTo>
                      <a:pt x="544" y="162"/>
                    </a:lnTo>
                    <a:lnTo>
                      <a:pt x="536" y="148"/>
                    </a:lnTo>
                    <a:lnTo>
                      <a:pt x="536" y="148"/>
                    </a:lnTo>
                    <a:lnTo>
                      <a:pt x="538" y="148"/>
                    </a:lnTo>
                    <a:lnTo>
                      <a:pt x="544" y="144"/>
                    </a:lnTo>
                    <a:lnTo>
                      <a:pt x="544" y="144"/>
                    </a:lnTo>
                    <a:lnTo>
                      <a:pt x="552" y="150"/>
                    </a:lnTo>
                    <a:lnTo>
                      <a:pt x="556" y="156"/>
                    </a:lnTo>
                    <a:lnTo>
                      <a:pt x="556" y="160"/>
                    </a:lnTo>
                    <a:lnTo>
                      <a:pt x="554" y="166"/>
                    </a:lnTo>
                    <a:lnTo>
                      <a:pt x="554" y="166"/>
                    </a:lnTo>
                    <a:close/>
                    <a:moveTo>
                      <a:pt x="490" y="152"/>
                    </a:moveTo>
                    <a:lnTo>
                      <a:pt x="490" y="152"/>
                    </a:lnTo>
                    <a:lnTo>
                      <a:pt x="496" y="152"/>
                    </a:lnTo>
                    <a:lnTo>
                      <a:pt x="500" y="150"/>
                    </a:lnTo>
                    <a:lnTo>
                      <a:pt x="508" y="146"/>
                    </a:lnTo>
                    <a:lnTo>
                      <a:pt x="508" y="146"/>
                    </a:lnTo>
                    <a:lnTo>
                      <a:pt x="522" y="148"/>
                    </a:lnTo>
                    <a:lnTo>
                      <a:pt x="526" y="164"/>
                    </a:lnTo>
                    <a:lnTo>
                      <a:pt x="522" y="168"/>
                    </a:lnTo>
                    <a:lnTo>
                      <a:pt x="514" y="170"/>
                    </a:lnTo>
                    <a:lnTo>
                      <a:pt x="506" y="174"/>
                    </a:lnTo>
                    <a:lnTo>
                      <a:pt x="506" y="174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496" y="164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close/>
                    <a:moveTo>
                      <a:pt x="462" y="166"/>
                    </a:moveTo>
                    <a:lnTo>
                      <a:pt x="462" y="166"/>
                    </a:lnTo>
                    <a:lnTo>
                      <a:pt x="470" y="158"/>
                    </a:lnTo>
                    <a:lnTo>
                      <a:pt x="502" y="180"/>
                    </a:lnTo>
                    <a:lnTo>
                      <a:pt x="502" y="180"/>
                    </a:lnTo>
                    <a:lnTo>
                      <a:pt x="498" y="184"/>
                    </a:lnTo>
                    <a:lnTo>
                      <a:pt x="498" y="184"/>
                    </a:lnTo>
                    <a:lnTo>
                      <a:pt x="496" y="184"/>
                    </a:lnTo>
                    <a:lnTo>
                      <a:pt x="494" y="184"/>
                    </a:lnTo>
                    <a:lnTo>
                      <a:pt x="490" y="182"/>
                    </a:lnTo>
                    <a:lnTo>
                      <a:pt x="490" y="182"/>
                    </a:lnTo>
                    <a:lnTo>
                      <a:pt x="486" y="178"/>
                    </a:lnTo>
                    <a:lnTo>
                      <a:pt x="480" y="174"/>
                    </a:lnTo>
                    <a:lnTo>
                      <a:pt x="480" y="174"/>
                    </a:lnTo>
                    <a:lnTo>
                      <a:pt x="478" y="174"/>
                    </a:lnTo>
                    <a:lnTo>
                      <a:pt x="474" y="174"/>
                    </a:lnTo>
                    <a:lnTo>
                      <a:pt x="468" y="178"/>
                    </a:lnTo>
                    <a:lnTo>
                      <a:pt x="468" y="178"/>
                    </a:lnTo>
                    <a:lnTo>
                      <a:pt x="464" y="180"/>
                    </a:lnTo>
                    <a:lnTo>
                      <a:pt x="460" y="180"/>
                    </a:lnTo>
                    <a:lnTo>
                      <a:pt x="460" y="180"/>
                    </a:lnTo>
                    <a:lnTo>
                      <a:pt x="460" y="176"/>
                    </a:lnTo>
                    <a:lnTo>
                      <a:pt x="460" y="172"/>
                    </a:lnTo>
                    <a:lnTo>
                      <a:pt x="462" y="166"/>
                    </a:lnTo>
                    <a:lnTo>
                      <a:pt x="462" y="166"/>
                    </a:lnTo>
                    <a:close/>
                    <a:moveTo>
                      <a:pt x="588" y="554"/>
                    </a:moveTo>
                    <a:lnTo>
                      <a:pt x="448" y="554"/>
                    </a:lnTo>
                    <a:lnTo>
                      <a:pt x="448" y="380"/>
                    </a:lnTo>
                    <a:lnTo>
                      <a:pt x="448" y="380"/>
                    </a:lnTo>
                    <a:lnTo>
                      <a:pt x="448" y="370"/>
                    </a:lnTo>
                    <a:lnTo>
                      <a:pt x="452" y="358"/>
                    </a:lnTo>
                    <a:lnTo>
                      <a:pt x="456" y="346"/>
                    </a:lnTo>
                    <a:lnTo>
                      <a:pt x="464" y="336"/>
                    </a:lnTo>
                    <a:lnTo>
                      <a:pt x="472" y="326"/>
                    </a:lnTo>
                    <a:lnTo>
                      <a:pt x="484" y="320"/>
                    </a:lnTo>
                    <a:lnTo>
                      <a:pt x="496" y="314"/>
                    </a:lnTo>
                    <a:lnTo>
                      <a:pt x="510" y="310"/>
                    </a:lnTo>
                    <a:lnTo>
                      <a:pt x="528" y="310"/>
                    </a:lnTo>
                    <a:lnTo>
                      <a:pt x="528" y="310"/>
                    </a:lnTo>
                    <a:lnTo>
                      <a:pt x="542" y="314"/>
                    </a:lnTo>
                    <a:lnTo>
                      <a:pt x="554" y="320"/>
                    </a:lnTo>
                    <a:lnTo>
                      <a:pt x="564" y="326"/>
                    </a:lnTo>
                    <a:lnTo>
                      <a:pt x="574" y="336"/>
                    </a:lnTo>
                    <a:lnTo>
                      <a:pt x="580" y="346"/>
                    </a:lnTo>
                    <a:lnTo>
                      <a:pt x="584" y="358"/>
                    </a:lnTo>
                    <a:lnTo>
                      <a:pt x="588" y="370"/>
                    </a:lnTo>
                    <a:lnTo>
                      <a:pt x="588" y="380"/>
                    </a:lnTo>
                    <a:lnTo>
                      <a:pt x="588" y="380"/>
                    </a:lnTo>
                    <a:lnTo>
                      <a:pt x="588" y="554"/>
                    </a:lnTo>
                    <a:lnTo>
                      <a:pt x="588" y="554"/>
                    </a:lnTo>
                    <a:close/>
                    <a:moveTo>
                      <a:pt x="760" y="532"/>
                    </a:moveTo>
                    <a:lnTo>
                      <a:pt x="758" y="532"/>
                    </a:lnTo>
                    <a:lnTo>
                      <a:pt x="758" y="538"/>
                    </a:lnTo>
                    <a:lnTo>
                      <a:pt x="752" y="538"/>
                    </a:lnTo>
                    <a:lnTo>
                      <a:pt x="752" y="542"/>
                    </a:lnTo>
                    <a:lnTo>
                      <a:pt x="748" y="542"/>
                    </a:lnTo>
                    <a:lnTo>
                      <a:pt x="748" y="546"/>
                    </a:lnTo>
                    <a:lnTo>
                      <a:pt x="744" y="546"/>
                    </a:lnTo>
                    <a:lnTo>
                      <a:pt x="744" y="554"/>
                    </a:lnTo>
                    <a:lnTo>
                      <a:pt x="726" y="554"/>
                    </a:lnTo>
                    <a:lnTo>
                      <a:pt x="726" y="546"/>
                    </a:lnTo>
                    <a:lnTo>
                      <a:pt x="722" y="546"/>
                    </a:lnTo>
                    <a:lnTo>
                      <a:pt x="722" y="542"/>
                    </a:lnTo>
                    <a:lnTo>
                      <a:pt x="718" y="542"/>
                    </a:lnTo>
                    <a:lnTo>
                      <a:pt x="718" y="538"/>
                    </a:lnTo>
                    <a:lnTo>
                      <a:pt x="714" y="538"/>
                    </a:lnTo>
                    <a:lnTo>
                      <a:pt x="714" y="532"/>
                    </a:lnTo>
                    <a:lnTo>
                      <a:pt x="710" y="532"/>
                    </a:lnTo>
                    <a:lnTo>
                      <a:pt x="710" y="370"/>
                    </a:lnTo>
                    <a:lnTo>
                      <a:pt x="712" y="370"/>
                    </a:lnTo>
                    <a:lnTo>
                      <a:pt x="712" y="362"/>
                    </a:lnTo>
                    <a:lnTo>
                      <a:pt x="716" y="362"/>
                    </a:lnTo>
                    <a:lnTo>
                      <a:pt x="716" y="344"/>
                    </a:lnTo>
                    <a:lnTo>
                      <a:pt x="756" y="344"/>
                    </a:lnTo>
                    <a:lnTo>
                      <a:pt x="756" y="362"/>
                    </a:lnTo>
                    <a:lnTo>
                      <a:pt x="758" y="362"/>
                    </a:lnTo>
                    <a:lnTo>
                      <a:pt x="758" y="370"/>
                    </a:lnTo>
                    <a:lnTo>
                      <a:pt x="760" y="370"/>
                    </a:lnTo>
                    <a:lnTo>
                      <a:pt x="760" y="532"/>
                    </a:lnTo>
                    <a:close/>
                    <a:moveTo>
                      <a:pt x="844" y="532"/>
                    </a:moveTo>
                    <a:lnTo>
                      <a:pt x="840" y="532"/>
                    </a:lnTo>
                    <a:lnTo>
                      <a:pt x="840" y="538"/>
                    </a:lnTo>
                    <a:lnTo>
                      <a:pt x="834" y="538"/>
                    </a:lnTo>
                    <a:lnTo>
                      <a:pt x="834" y="542"/>
                    </a:lnTo>
                    <a:lnTo>
                      <a:pt x="832" y="542"/>
                    </a:lnTo>
                    <a:lnTo>
                      <a:pt x="832" y="546"/>
                    </a:lnTo>
                    <a:lnTo>
                      <a:pt x="828" y="546"/>
                    </a:lnTo>
                    <a:lnTo>
                      <a:pt x="828" y="554"/>
                    </a:lnTo>
                    <a:lnTo>
                      <a:pt x="806" y="554"/>
                    </a:lnTo>
                    <a:lnTo>
                      <a:pt x="806" y="546"/>
                    </a:lnTo>
                    <a:lnTo>
                      <a:pt x="802" y="546"/>
                    </a:lnTo>
                    <a:lnTo>
                      <a:pt x="802" y="542"/>
                    </a:lnTo>
                    <a:lnTo>
                      <a:pt x="800" y="542"/>
                    </a:lnTo>
                    <a:lnTo>
                      <a:pt x="800" y="538"/>
                    </a:lnTo>
                    <a:lnTo>
                      <a:pt x="794" y="538"/>
                    </a:lnTo>
                    <a:lnTo>
                      <a:pt x="794" y="532"/>
                    </a:lnTo>
                    <a:lnTo>
                      <a:pt x="790" y="532"/>
                    </a:lnTo>
                    <a:lnTo>
                      <a:pt x="790" y="370"/>
                    </a:lnTo>
                    <a:lnTo>
                      <a:pt x="792" y="370"/>
                    </a:lnTo>
                    <a:lnTo>
                      <a:pt x="792" y="362"/>
                    </a:lnTo>
                    <a:lnTo>
                      <a:pt x="796" y="362"/>
                    </a:lnTo>
                    <a:lnTo>
                      <a:pt x="796" y="344"/>
                    </a:lnTo>
                    <a:lnTo>
                      <a:pt x="838" y="344"/>
                    </a:lnTo>
                    <a:lnTo>
                      <a:pt x="838" y="362"/>
                    </a:lnTo>
                    <a:lnTo>
                      <a:pt x="842" y="362"/>
                    </a:lnTo>
                    <a:lnTo>
                      <a:pt x="842" y="370"/>
                    </a:lnTo>
                    <a:lnTo>
                      <a:pt x="844" y="370"/>
                    </a:lnTo>
                    <a:lnTo>
                      <a:pt x="844" y="532"/>
                    </a:lnTo>
                    <a:close/>
                    <a:moveTo>
                      <a:pt x="928" y="532"/>
                    </a:moveTo>
                    <a:lnTo>
                      <a:pt x="924" y="532"/>
                    </a:lnTo>
                    <a:lnTo>
                      <a:pt x="924" y="538"/>
                    </a:lnTo>
                    <a:lnTo>
                      <a:pt x="920" y="538"/>
                    </a:lnTo>
                    <a:lnTo>
                      <a:pt x="920" y="542"/>
                    </a:lnTo>
                    <a:lnTo>
                      <a:pt x="916" y="542"/>
                    </a:lnTo>
                    <a:lnTo>
                      <a:pt x="916" y="546"/>
                    </a:lnTo>
                    <a:lnTo>
                      <a:pt x="912" y="546"/>
                    </a:lnTo>
                    <a:lnTo>
                      <a:pt x="912" y="554"/>
                    </a:lnTo>
                    <a:lnTo>
                      <a:pt x="890" y="554"/>
                    </a:lnTo>
                    <a:lnTo>
                      <a:pt x="890" y="546"/>
                    </a:lnTo>
                    <a:lnTo>
                      <a:pt x="886" y="546"/>
                    </a:lnTo>
                    <a:lnTo>
                      <a:pt x="886" y="542"/>
                    </a:lnTo>
                    <a:lnTo>
                      <a:pt x="882" y="542"/>
                    </a:lnTo>
                    <a:lnTo>
                      <a:pt x="882" y="538"/>
                    </a:lnTo>
                    <a:lnTo>
                      <a:pt x="876" y="538"/>
                    </a:lnTo>
                    <a:lnTo>
                      <a:pt x="876" y="532"/>
                    </a:lnTo>
                    <a:lnTo>
                      <a:pt x="874" y="532"/>
                    </a:lnTo>
                    <a:lnTo>
                      <a:pt x="874" y="370"/>
                    </a:lnTo>
                    <a:lnTo>
                      <a:pt x="876" y="370"/>
                    </a:lnTo>
                    <a:lnTo>
                      <a:pt x="876" y="362"/>
                    </a:lnTo>
                    <a:lnTo>
                      <a:pt x="878" y="362"/>
                    </a:lnTo>
                    <a:lnTo>
                      <a:pt x="878" y="344"/>
                    </a:lnTo>
                    <a:lnTo>
                      <a:pt x="922" y="344"/>
                    </a:lnTo>
                    <a:lnTo>
                      <a:pt x="922" y="362"/>
                    </a:lnTo>
                    <a:lnTo>
                      <a:pt x="926" y="362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53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223"/>
              <p:cNvSpPr>
                <a:spLocks/>
              </p:cNvSpPr>
              <p:nvPr/>
            </p:nvSpPr>
            <p:spPr bwMode="auto">
              <a:xfrm>
                <a:off x="9146093" y="6794220"/>
                <a:ext cx="42348" cy="37055"/>
              </a:xfrm>
              <a:custGeom>
                <a:avLst/>
                <a:gdLst>
                  <a:gd name="T0" fmla="*/ 26 w 32"/>
                  <a:gd name="T1" fmla="*/ 6 h 28"/>
                  <a:gd name="T2" fmla="*/ 32 w 32"/>
                  <a:gd name="T3" fmla="*/ 0 h 28"/>
                  <a:gd name="T4" fmla="*/ 32 w 32"/>
                  <a:gd name="T5" fmla="*/ 0 h 28"/>
                  <a:gd name="T6" fmla="*/ 26 w 32"/>
                  <a:gd name="T7" fmla="*/ 0 h 28"/>
                  <a:gd name="T8" fmla="*/ 20 w 32"/>
                  <a:gd name="T9" fmla="*/ 2 h 28"/>
                  <a:gd name="T10" fmla="*/ 18 w 32"/>
                  <a:gd name="T11" fmla="*/ 8 h 28"/>
                  <a:gd name="T12" fmla="*/ 16 w 32"/>
                  <a:gd name="T13" fmla="*/ 14 h 28"/>
                  <a:gd name="T14" fmla="*/ 16 w 32"/>
                  <a:gd name="T15" fmla="*/ 14 h 28"/>
                  <a:gd name="T16" fmla="*/ 12 w 32"/>
                  <a:gd name="T17" fmla="*/ 20 h 28"/>
                  <a:gd name="T18" fmla="*/ 6 w 32"/>
                  <a:gd name="T19" fmla="*/ 22 h 28"/>
                  <a:gd name="T20" fmla="*/ 0 w 32"/>
                  <a:gd name="T21" fmla="*/ 24 h 28"/>
                  <a:gd name="T22" fmla="*/ 0 w 32"/>
                  <a:gd name="T23" fmla="*/ 24 h 28"/>
                  <a:gd name="T24" fmla="*/ 8 w 32"/>
                  <a:gd name="T25" fmla="*/ 28 h 28"/>
                  <a:gd name="T26" fmla="*/ 14 w 32"/>
                  <a:gd name="T27" fmla="*/ 28 h 28"/>
                  <a:gd name="T28" fmla="*/ 18 w 32"/>
                  <a:gd name="T29" fmla="*/ 24 h 28"/>
                  <a:gd name="T30" fmla="*/ 22 w 32"/>
                  <a:gd name="T31" fmla="*/ 20 h 28"/>
                  <a:gd name="T32" fmla="*/ 24 w 32"/>
                  <a:gd name="T33" fmla="*/ 10 h 28"/>
                  <a:gd name="T34" fmla="*/ 26 w 32"/>
                  <a:gd name="T35" fmla="*/ 6 h 28"/>
                  <a:gd name="T36" fmla="*/ 26 w 32"/>
                  <a:gd name="T37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28">
                    <a:moveTo>
                      <a:pt x="26" y="6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8" y="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20"/>
                    </a:lnTo>
                    <a:lnTo>
                      <a:pt x="6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4" y="10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1919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0502900" y="6578600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5" name="Freeform 11"/>
          <p:cNvSpPr>
            <a:spLocks noEditPoints="1"/>
          </p:cNvSpPr>
          <p:nvPr/>
        </p:nvSpPr>
        <p:spPr bwMode="auto">
          <a:xfrm>
            <a:off x="3199992" y="686445"/>
            <a:ext cx="1506055" cy="360272"/>
          </a:xfrm>
          <a:custGeom>
            <a:avLst/>
            <a:gdLst>
              <a:gd name="T0" fmla="*/ 1171 w 16100"/>
              <a:gd name="T1" fmla="*/ 712 h 3416"/>
              <a:gd name="T2" fmla="*/ 1871 w 16100"/>
              <a:gd name="T3" fmla="*/ 1146 h 3416"/>
              <a:gd name="T4" fmla="*/ 2109 w 16100"/>
              <a:gd name="T5" fmla="*/ 843 h 3416"/>
              <a:gd name="T6" fmla="*/ 2496 w 16100"/>
              <a:gd name="T7" fmla="*/ 697 h 3416"/>
              <a:gd name="T8" fmla="*/ 2840 w 16100"/>
              <a:gd name="T9" fmla="*/ 718 h 3416"/>
              <a:gd name="T10" fmla="*/ 3069 w 16100"/>
              <a:gd name="T11" fmla="*/ 832 h 3416"/>
              <a:gd name="T12" fmla="*/ 3243 w 16100"/>
              <a:gd name="T13" fmla="*/ 1027 h 3416"/>
              <a:gd name="T14" fmla="*/ 2781 w 16100"/>
              <a:gd name="T15" fmla="*/ 985 h 3416"/>
              <a:gd name="T16" fmla="*/ 2544 w 16100"/>
              <a:gd name="T17" fmla="*/ 956 h 3416"/>
              <a:gd name="T18" fmla="*/ 2315 w 16100"/>
              <a:gd name="T19" fmla="*/ 1050 h 3416"/>
              <a:gd name="T20" fmla="*/ 2178 w 16100"/>
              <a:gd name="T21" fmla="*/ 1244 h 3416"/>
              <a:gd name="T22" fmla="*/ 2159 w 16100"/>
              <a:gd name="T23" fmla="*/ 1499 h 3416"/>
              <a:gd name="T24" fmla="*/ 2267 w 16100"/>
              <a:gd name="T25" fmla="*/ 1714 h 3416"/>
              <a:gd name="T26" fmla="*/ 2474 w 16100"/>
              <a:gd name="T27" fmla="*/ 1839 h 3416"/>
              <a:gd name="T28" fmla="*/ 2755 w 16100"/>
              <a:gd name="T29" fmla="*/ 1834 h 3416"/>
              <a:gd name="T30" fmla="*/ 2969 w 16100"/>
              <a:gd name="T31" fmla="*/ 1657 h 3416"/>
              <a:gd name="T32" fmla="*/ 3085 w 16100"/>
              <a:gd name="T33" fmla="*/ 1963 h 3416"/>
              <a:gd name="T34" fmla="*/ 2864 w 16100"/>
              <a:gd name="T35" fmla="*/ 2083 h 3416"/>
              <a:gd name="T36" fmla="*/ 2536 w 16100"/>
              <a:gd name="T37" fmla="*/ 2116 h 3416"/>
              <a:gd name="T38" fmla="*/ 2139 w 16100"/>
              <a:gd name="T39" fmla="*/ 1986 h 3416"/>
              <a:gd name="T40" fmla="*/ 1885 w 16100"/>
              <a:gd name="T41" fmla="*/ 1695 h 3416"/>
              <a:gd name="T42" fmla="*/ 3731 w 16100"/>
              <a:gd name="T43" fmla="*/ 971 h 3416"/>
              <a:gd name="T44" fmla="*/ 6287 w 16100"/>
              <a:gd name="T45" fmla="*/ 1216 h 3416"/>
              <a:gd name="T46" fmla="*/ 6564 w 16100"/>
              <a:gd name="T47" fmla="*/ 1280 h 3416"/>
              <a:gd name="T48" fmla="*/ 6732 w 16100"/>
              <a:gd name="T49" fmla="*/ 1447 h 3416"/>
              <a:gd name="T50" fmla="*/ 6782 w 16100"/>
              <a:gd name="T51" fmla="*/ 1677 h 3416"/>
              <a:gd name="T52" fmla="*/ 6710 w 16100"/>
              <a:gd name="T53" fmla="*/ 1899 h 3416"/>
              <a:gd name="T54" fmla="*/ 6523 w 16100"/>
              <a:gd name="T55" fmla="*/ 2050 h 3416"/>
              <a:gd name="T56" fmla="*/ 5582 w 16100"/>
              <a:gd name="T57" fmla="*/ 712 h 3416"/>
              <a:gd name="T58" fmla="*/ 6367 w 16100"/>
              <a:gd name="T59" fmla="*/ 1807 h 3416"/>
              <a:gd name="T60" fmla="*/ 6451 w 16100"/>
              <a:gd name="T61" fmla="*/ 1703 h 3416"/>
              <a:gd name="T62" fmla="*/ 6448 w 16100"/>
              <a:gd name="T63" fmla="*/ 1597 h 3416"/>
              <a:gd name="T64" fmla="*/ 6348 w 16100"/>
              <a:gd name="T65" fmla="*/ 1494 h 3416"/>
              <a:gd name="T66" fmla="*/ 7555 w 16100"/>
              <a:gd name="T67" fmla="*/ 2033 h 3416"/>
              <a:gd name="T68" fmla="*/ 7311 w 16100"/>
              <a:gd name="T69" fmla="*/ 2117 h 3416"/>
              <a:gd name="T70" fmla="*/ 7111 w 16100"/>
              <a:gd name="T71" fmla="*/ 2094 h 3416"/>
              <a:gd name="T72" fmla="*/ 6957 w 16100"/>
              <a:gd name="T73" fmla="*/ 1991 h 3416"/>
              <a:gd name="T74" fmla="*/ 6884 w 16100"/>
              <a:gd name="T75" fmla="*/ 1808 h 3416"/>
              <a:gd name="T76" fmla="*/ 6936 w 16100"/>
              <a:gd name="T77" fmla="*/ 1609 h 3416"/>
              <a:gd name="T78" fmla="*/ 7080 w 16100"/>
              <a:gd name="T79" fmla="*/ 1499 h 3416"/>
              <a:gd name="T80" fmla="*/ 7259 w 16100"/>
              <a:gd name="T81" fmla="*/ 1465 h 3416"/>
              <a:gd name="T82" fmla="*/ 7520 w 16100"/>
              <a:gd name="T83" fmla="*/ 1523 h 3416"/>
              <a:gd name="T84" fmla="*/ 7595 w 16100"/>
              <a:gd name="T85" fmla="*/ 1407 h 3416"/>
              <a:gd name="T86" fmla="*/ 7503 w 16100"/>
              <a:gd name="T87" fmla="*/ 1310 h 3416"/>
              <a:gd name="T88" fmla="*/ 7258 w 16100"/>
              <a:gd name="T89" fmla="*/ 1296 h 3416"/>
              <a:gd name="T90" fmla="*/ 7049 w 16100"/>
              <a:gd name="T91" fmla="*/ 1402 h 3416"/>
              <a:gd name="T92" fmla="*/ 7224 w 16100"/>
              <a:gd name="T93" fmla="*/ 1090 h 3416"/>
              <a:gd name="T94" fmla="*/ 7527 w 16100"/>
              <a:gd name="T95" fmla="*/ 1076 h 3416"/>
              <a:gd name="T96" fmla="*/ 7742 w 16100"/>
              <a:gd name="T97" fmla="*/ 1150 h 3416"/>
              <a:gd name="T98" fmla="*/ 7871 w 16100"/>
              <a:gd name="T99" fmla="*/ 1326 h 3416"/>
              <a:gd name="T100" fmla="*/ 7592 w 16100"/>
              <a:gd name="T101" fmla="*/ 1720 h 3416"/>
              <a:gd name="T102" fmla="*/ 7441 w 16100"/>
              <a:gd name="T103" fmla="*/ 1648 h 3416"/>
              <a:gd name="T104" fmla="*/ 7244 w 16100"/>
              <a:gd name="T105" fmla="*/ 1672 h 3416"/>
              <a:gd name="T106" fmla="*/ 7172 w 16100"/>
              <a:gd name="T107" fmla="*/ 1776 h 3416"/>
              <a:gd name="T108" fmla="*/ 7195 w 16100"/>
              <a:gd name="T109" fmla="*/ 1870 h 3416"/>
              <a:gd name="T110" fmla="*/ 7374 w 16100"/>
              <a:gd name="T111" fmla="*/ 1941 h 3416"/>
              <a:gd name="T112" fmla="*/ 7547 w 16100"/>
              <a:gd name="T113" fmla="*/ 1900 h 3416"/>
              <a:gd name="T114" fmla="*/ 8878 w 16100"/>
              <a:gd name="T115" fmla="*/ 1094 h 3416"/>
              <a:gd name="T116" fmla="*/ 9709 w 16100"/>
              <a:gd name="T117" fmla="*/ 2095 h 3416"/>
              <a:gd name="T118" fmla="*/ 13892 w 16100"/>
              <a:gd name="T119" fmla="*/ 3416 h 3416"/>
              <a:gd name="T120" fmla="*/ 14648 w 16100"/>
              <a:gd name="T121" fmla="*/ 1078 h 3416"/>
              <a:gd name="T122" fmla="*/ 13021 w 16100"/>
              <a:gd name="T123" fmla="*/ 1191 h 3416"/>
              <a:gd name="T124" fmla="*/ 10883 w 16100"/>
              <a:gd name="T125" fmla="*/ 0 h 3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00" h="3416">
                <a:moveTo>
                  <a:pt x="1299" y="2095"/>
                </a:moveTo>
                <a:lnTo>
                  <a:pt x="1299" y="1127"/>
                </a:lnTo>
                <a:lnTo>
                  <a:pt x="878" y="2095"/>
                </a:lnTo>
                <a:lnTo>
                  <a:pt x="739" y="2095"/>
                </a:lnTo>
                <a:lnTo>
                  <a:pt x="318" y="1127"/>
                </a:lnTo>
                <a:lnTo>
                  <a:pt x="318" y="2095"/>
                </a:lnTo>
                <a:lnTo>
                  <a:pt x="0" y="2095"/>
                </a:lnTo>
                <a:lnTo>
                  <a:pt x="0" y="712"/>
                </a:lnTo>
                <a:lnTo>
                  <a:pt x="446" y="712"/>
                </a:lnTo>
                <a:lnTo>
                  <a:pt x="808" y="1547"/>
                </a:lnTo>
                <a:lnTo>
                  <a:pt x="1171" y="712"/>
                </a:lnTo>
                <a:lnTo>
                  <a:pt x="1619" y="712"/>
                </a:lnTo>
                <a:lnTo>
                  <a:pt x="1619" y="2095"/>
                </a:lnTo>
                <a:lnTo>
                  <a:pt x="1299" y="2095"/>
                </a:lnTo>
                <a:close/>
                <a:moveTo>
                  <a:pt x="1823" y="1404"/>
                </a:moveTo>
                <a:lnTo>
                  <a:pt x="1824" y="1365"/>
                </a:lnTo>
                <a:lnTo>
                  <a:pt x="1827" y="1326"/>
                </a:lnTo>
                <a:lnTo>
                  <a:pt x="1832" y="1288"/>
                </a:lnTo>
                <a:lnTo>
                  <a:pt x="1838" y="1252"/>
                </a:lnTo>
                <a:lnTo>
                  <a:pt x="1847" y="1216"/>
                </a:lnTo>
                <a:lnTo>
                  <a:pt x="1859" y="1180"/>
                </a:lnTo>
                <a:lnTo>
                  <a:pt x="1871" y="1146"/>
                </a:lnTo>
                <a:lnTo>
                  <a:pt x="1885" y="1113"/>
                </a:lnTo>
                <a:lnTo>
                  <a:pt x="1900" y="1082"/>
                </a:lnTo>
                <a:lnTo>
                  <a:pt x="1917" y="1050"/>
                </a:lnTo>
                <a:lnTo>
                  <a:pt x="1936" y="1020"/>
                </a:lnTo>
                <a:lnTo>
                  <a:pt x="1957" y="991"/>
                </a:lnTo>
                <a:lnTo>
                  <a:pt x="1978" y="964"/>
                </a:lnTo>
                <a:lnTo>
                  <a:pt x="2001" y="936"/>
                </a:lnTo>
                <a:lnTo>
                  <a:pt x="2027" y="911"/>
                </a:lnTo>
                <a:lnTo>
                  <a:pt x="2053" y="887"/>
                </a:lnTo>
                <a:lnTo>
                  <a:pt x="2080" y="864"/>
                </a:lnTo>
                <a:lnTo>
                  <a:pt x="2109" y="843"/>
                </a:lnTo>
                <a:lnTo>
                  <a:pt x="2139" y="823"/>
                </a:lnTo>
                <a:lnTo>
                  <a:pt x="2169" y="803"/>
                </a:lnTo>
                <a:lnTo>
                  <a:pt x="2202" y="785"/>
                </a:lnTo>
                <a:lnTo>
                  <a:pt x="2236" y="769"/>
                </a:lnTo>
                <a:lnTo>
                  <a:pt x="2270" y="754"/>
                </a:lnTo>
                <a:lnTo>
                  <a:pt x="2305" y="741"/>
                </a:lnTo>
                <a:lnTo>
                  <a:pt x="2342" y="729"/>
                </a:lnTo>
                <a:lnTo>
                  <a:pt x="2379" y="719"/>
                </a:lnTo>
                <a:lnTo>
                  <a:pt x="2417" y="710"/>
                </a:lnTo>
                <a:lnTo>
                  <a:pt x="2455" y="703"/>
                </a:lnTo>
                <a:lnTo>
                  <a:pt x="2496" y="697"/>
                </a:lnTo>
                <a:lnTo>
                  <a:pt x="2536" y="692"/>
                </a:lnTo>
                <a:lnTo>
                  <a:pt x="2577" y="689"/>
                </a:lnTo>
                <a:lnTo>
                  <a:pt x="2618" y="689"/>
                </a:lnTo>
                <a:lnTo>
                  <a:pt x="2648" y="689"/>
                </a:lnTo>
                <a:lnTo>
                  <a:pt x="2679" y="690"/>
                </a:lnTo>
                <a:lnTo>
                  <a:pt x="2707" y="693"/>
                </a:lnTo>
                <a:lnTo>
                  <a:pt x="2735" y="697"/>
                </a:lnTo>
                <a:lnTo>
                  <a:pt x="2762" y="701"/>
                </a:lnTo>
                <a:lnTo>
                  <a:pt x="2789" y="706"/>
                </a:lnTo>
                <a:lnTo>
                  <a:pt x="2814" y="712"/>
                </a:lnTo>
                <a:lnTo>
                  <a:pt x="2840" y="718"/>
                </a:lnTo>
                <a:lnTo>
                  <a:pt x="2865" y="725"/>
                </a:lnTo>
                <a:lnTo>
                  <a:pt x="2888" y="733"/>
                </a:lnTo>
                <a:lnTo>
                  <a:pt x="2911" y="742"/>
                </a:lnTo>
                <a:lnTo>
                  <a:pt x="2933" y="751"/>
                </a:lnTo>
                <a:lnTo>
                  <a:pt x="2954" y="761"/>
                </a:lnTo>
                <a:lnTo>
                  <a:pt x="2975" y="771"/>
                </a:lnTo>
                <a:lnTo>
                  <a:pt x="2996" y="782"/>
                </a:lnTo>
                <a:lnTo>
                  <a:pt x="3015" y="793"/>
                </a:lnTo>
                <a:lnTo>
                  <a:pt x="3034" y="805"/>
                </a:lnTo>
                <a:lnTo>
                  <a:pt x="3052" y="818"/>
                </a:lnTo>
                <a:lnTo>
                  <a:pt x="3069" y="832"/>
                </a:lnTo>
                <a:lnTo>
                  <a:pt x="3086" y="845"/>
                </a:lnTo>
                <a:lnTo>
                  <a:pt x="3102" y="859"/>
                </a:lnTo>
                <a:lnTo>
                  <a:pt x="3118" y="873"/>
                </a:lnTo>
                <a:lnTo>
                  <a:pt x="3132" y="887"/>
                </a:lnTo>
                <a:lnTo>
                  <a:pt x="3148" y="902"/>
                </a:lnTo>
                <a:lnTo>
                  <a:pt x="3162" y="916"/>
                </a:lnTo>
                <a:lnTo>
                  <a:pt x="3175" y="932"/>
                </a:lnTo>
                <a:lnTo>
                  <a:pt x="3188" y="947"/>
                </a:lnTo>
                <a:lnTo>
                  <a:pt x="3200" y="964"/>
                </a:lnTo>
                <a:lnTo>
                  <a:pt x="3222" y="995"/>
                </a:lnTo>
                <a:lnTo>
                  <a:pt x="3243" y="1027"/>
                </a:lnTo>
                <a:lnTo>
                  <a:pt x="2969" y="1152"/>
                </a:lnTo>
                <a:lnTo>
                  <a:pt x="2957" y="1131"/>
                </a:lnTo>
                <a:lnTo>
                  <a:pt x="2943" y="1111"/>
                </a:lnTo>
                <a:lnTo>
                  <a:pt x="2927" y="1092"/>
                </a:lnTo>
                <a:lnTo>
                  <a:pt x="2910" y="1073"/>
                </a:lnTo>
                <a:lnTo>
                  <a:pt x="2892" y="1055"/>
                </a:lnTo>
                <a:lnTo>
                  <a:pt x="2872" y="1039"/>
                </a:lnTo>
                <a:lnTo>
                  <a:pt x="2851" y="1023"/>
                </a:lnTo>
                <a:lnTo>
                  <a:pt x="2829" y="1009"/>
                </a:lnTo>
                <a:lnTo>
                  <a:pt x="2805" y="996"/>
                </a:lnTo>
                <a:lnTo>
                  <a:pt x="2781" y="985"/>
                </a:lnTo>
                <a:lnTo>
                  <a:pt x="2755" y="975"/>
                </a:lnTo>
                <a:lnTo>
                  <a:pt x="2730" y="966"/>
                </a:lnTo>
                <a:lnTo>
                  <a:pt x="2703" y="960"/>
                </a:lnTo>
                <a:lnTo>
                  <a:pt x="2675" y="955"/>
                </a:lnTo>
                <a:lnTo>
                  <a:pt x="2662" y="953"/>
                </a:lnTo>
                <a:lnTo>
                  <a:pt x="2647" y="952"/>
                </a:lnTo>
                <a:lnTo>
                  <a:pt x="2632" y="951"/>
                </a:lnTo>
                <a:lnTo>
                  <a:pt x="2618" y="951"/>
                </a:lnTo>
                <a:lnTo>
                  <a:pt x="2593" y="951"/>
                </a:lnTo>
                <a:lnTo>
                  <a:pt x="2568" y="953"/>
                </a:lnTo>
                <a:lnTo>
                  <a:pt x="2544" y="956"/>
                </a:lnTo>
                <a:lnTo>
                  <a:pt x="2521" y="960"/>
                </a:lnTo>
                <a:lnTo>
                  <a:pt x="2498" y="964"/>
                </a:lnTo>
                <a:lnTo>
                  <a:pt x="2474" y="970"/>
                </a:lnTo>
                <a:lnTo>
                  <a:pt x="2452" y="977"/>
                </a:lnTo>
                <a:lnTo>
                  <a:pt x="2431" y="985"/>
                </a:lnTo>
                <a:lnTo>
                  <a:pt x="2410" y="994"/>
                </a:lnTo>
                <a:lnTo>
                  <a:pt x="2390" y="1003"/>
                </a:lnTo>
                <a:lnTo>
                  <a:pt x="2370" y="1014"/>
                </a:lnTo>
                <a:lnTo>
                  <a:pt x="2352" y="1025"/>
                </a:lnTo>
                <a:lnTo>
                  <a:pt x="2332" y="1037"/>
                </a:lnTo>
                <a:lnTo>
                  <a:pt x="2315" y="1050"/>
                </a:lnTo>
                <a:lnTo>
                  <a:pt x="2298" y="1064"/>
                </a:lnTo>
                <a:lnTo>
                  <a:pt x="2282" y="1080"/>
                </a:lnTo>
                <a:lnTo>
                  <a:pt x="2267" y="1095"/>
                </a:lnTo>
                <a:lnTo>
                  <a:pt x="2253" y="1111"/>
                </a:lnTo>
                <a:lnTo>
                  <a:pt x="2240" y="1128"/>
                </a:lnTo>
                <a:lnTo>
                  <a:pt x="2227" y="1146"/>
                </a:lnTo>
                <a:lnTo>
                  <a:pt x="2215" y="1164"/>
                </a:lnTo>
                <a:lnTo>
                  <a:pt x="2205" y="1183"/>
                </a:lnTo>
                <a:lnTo>
                  <a:pt x="2195" y="1203"/>
                </a:lnTo>
                <a:lnTo>
                  <a:pt x="2186" y="1224"/>
                </a:lnTo>
                <a:lnTo>
                  <a:pt x="2178" y="1244"/>
                </a:lnTo>
                <a:lnTo>
                  <a:pt x="2170" y="1265"/>
                </a:lnTo>
                <a:lnTo>
                  <a:pt x="2164" y="1287"/>
                </a:lnTo>
                <a:lnTo>
                  <a:pt x="2159" y="1309"/>
                </a:lnTo>
                <a:lnTo>
                  <a:pt x="2155" y="1333"/>
                </a:lnTo>
                <a:lnTo>
                  <a:pt x="2152" y="1356"/>
                </a:lnTo>
                <a:lnTo>
                  <a:pt x="2150" y="1380"/>
                </a:lnTo>
                <a:lnTo>
                  <a:pt x="2150" y="1404"/>
                </a:lnTo>
                <a:lnTo>
                  <a:pt x="2150" y="1428"/>
                </a:lnTo>
                <a:lnTo>
                  <a:pt x="2152" y="1452"/>
                </a:lnTo>
                <a:lnTo>
                  <a:pt x="2155" y="1476"/>
                </a:lnTo>
                <a:lnTo>
                  <a:pt x="2159" y="1499"/>
                </a:lnTo>
                <a:lnTo>
                  <a:pt x="2164" y="1521"/>
                </a:lnTo>
                <a:lnTo>
                  <a:pt x="2170" y="1543"/>
                </a:lnTo>
                <a:lnTo>
                  <a:pt x="2178" y="1564"/>
                </a:lnTo>
                <a:lnTo>
                  <a:pt x="2186" y="1586"/>
                </a:lnTo>
                <a:lnTo>
                  <a:pt x="2195" y="1606"/>
                </a:lnTo>
                <a:lnTo>
                  <a:pt x="2205" y="1626"/>
                </a:lnTo>
                <a:lnTo>
                  <a:pt x="2215" y="1644"/>
                </a:lnTo>
                <a:lnTo>
                  <a:pt x="2227" y="1663"/>
                </a:lnTo>
                <a:lnTo>
                  <a:pt x="2240" y="1680"/>
                </a:lnTo>
                <a:lnTo>
                  <a:pt x="2253" y="1697"/>
                </a:lnTo>
                <a:lnTo>
                  <a:pt x="2267" y="1714"/>
                </a:lnTo>
                <a:lnTo>
                  <a:pt x="2282" y="1730"/>
                </a:lnTo>
                <a:lnTo>
                  <a:pt x="2298" y="1744"/>
                </a:lnTo>
                <a:lnTo>
                  <a:pt x="2315" y="1758"/>
                </a:lnTo>
                <a:lnTo>
                  <a:pt x="2332" y="1771"/>
                </a:lnTo>
                <a:lnTo>
                  <a:pt x="2352" y="1784"/>
                </a:lnTo>
                <a:lnTo>
                  <a:pt x="2370" y="1795"/>
                </a:lnTo>
                <a:lnTo>
                  <a:pt x="2390" y="1805"/>
                </a:lnTo>
                <a:lnTo>
                  <a:pt x="2410" y="1815"/>
                </a:lnTo>
                <a:lnTo>
                  <a:pt x="2431" y="1824"/>
                </a:lnTo>
                <a:lnTo>
                  <a:pt x="2452" y="1832"/>
                </a:lnTo>
                <a:lnTo>
                  <a:pt x="2474" y="1839"/>
                </a:lnTo>
                <a:lnTo>
                  <a:pt x="2498" y="1845"/>
                </a:lnTo>
                <a:lnTo>
                  <a:pt x="2521" y="1850"/>
                </a:lnTo>
                <a:lnTo>
                  <a:pt x="2544" y="1854"/>
                </a:lnTo>
                <a:lnTo>
                  <a:pt x="2568" y="1856"/>
                </a:lnTo>
                <a:lnTo>
                  <a:pt x="2593" y="1858"/>
                </a:lnTo>
                <a:lnTo>
                  <a:pt x="2618" y="1859"/>
                </a:lnTo>
                <a:lnTo>
                  <a:pt x="2647" y="1858"/>
                </a:lnTo>
                <a:lnTo>
                  <a:pt x="2675" y="1855"/>
                </a:lnTo>
                <a:lnTo>
                  <a:pt x="2703" y="1850"/>
                </a:lnTo>
                <a:lnTo>
                  <a:pt x="2730" y="1843"/>
                </a:lnTo>
                <a:lnTo>
                  <a:pt x="2755" y="1834"/>
                </a:lnTo>
                <a:lnTo>
                  <a:pt x="2781" y="1824"/>
                </a:lnTo>
                <a:lnTo>
                  <a:pt x="2805" y="1813"/>
                </a:lnTo>
                <a:lnTo>
                  <a:pt x="2829" y="1800"/>
                </a:lnTo>
                <a:lnTo>
                  <a:pt x="2851" y="1786"/>
                </a:lnTo>
                <a:lnTo>
                  <a:pt x="2872" y="1771"/>
                </a:lnTo>
                <a:lnTo>
                  <a:pt x="2892" y="1754"/>
                </a:lnTo>
                <a:lnTo>
                  <a:pt x="2910" y="1737"/>
                </a:lnTo>
                <a:lnTo>
                  <a:pt x="2927" y="1718"/>
                </a:lnTo>
                <a:lnTo>
                  <a:pt x="2943" y="1698"/>
                </a:lnTo>
                <a:lnTo>
                  <a:pt x="2957" y="1678"/>
                </a:lnTo>
                <a:lnTo>
                  <a:pt x="2969" y="1657"/>
                </a:lnTo>
                <a:lnTo>
                  <a:pt x="3243" y="1779"/>
                </a:lnTo>
                <a:lnTo>
                  <a:pt x="3222" y="1811"/>
                </a:lnTo>
                <a:lnTo>
                  <a:pt x="3199" y="1844"/>
                </a:lnTo>
                <a:lnTo>
                  <a:pt x="3187" y="1860"/>
                </a:lnTo>
                <a:lnTo>
                  <a:pt x="3174" y="1875"/>
                </a:lnTo>
                <a:lnTo>
                  <a:pt x="3161" y="1890"/>
                </a:lnTo>
                <a:lnTo>
                  <a:pt x="3147" y="1905"/>
                </a:lnTo>
                <a:lnTo>
                  <a:pt x="3131" y="1920"/>
                </a:lnTo>
                <a:lnTo>
                  <a:pt x="3116" y="1934"/>
                </a:lnTo>
                <a:lnTo>
                  <a:pt x="3101" y="1948"/>
                </a:lnTo>
                <a:lnTo>
                  <a:pt x="3085" y="1963"/>
                </a:lnTo>
                <a:lnTo>
                  <a:pt x="3068" y="1976"/>
                </a:lnTo>
                <a:lnTo>
                  <a:pt x="3051" y="1989"/>
                </a:lnTo>
                <a:lnTo>
                  <a:pt x="3033" y="2002"/>
                </a:lnTo>
                <a:lnTo>
                  <a:pt x="3014" y="2014"/>
                </a:lnTo>
                <a:lnTo>
                  <a:pt x="2995" y="2026"/>
                </a:lnTo>
                <a:lnTo>
                  <a:pt x="2974" y="2037"/>
                </a:lnTo>
                <a:lnTo>
                  <a:pt x="2953" y="2047"/>
                </a:lnTo>
                <a:lnTo>
                  <a:pt x="2932" y="2057"/>
                </a:lnTo>
                <a:lnTo>
                  <a:pt x="2910" y="2066"/>
                </a:lnTo>
                <a:lnTo>
                  <a:pt x="2887" y="2075"/>
                </a:lnTo>
                <a:lnTo>
                  <a:pt x="2864" y="2083"/>
                </a:lnTo>
                <a:lnTo>
                  <a:pt x="2840" y="2091"/>
                </a:lnTo>
                <a:lnTo>
                  <a:pt x="2814" y="2097"/>
                </a:lnTo>
                <a:lnTo>
                  <a:pt x="2789" y="2103"/>
                </a:lnTo>
                <a:lnTo>
                  <a:pt x="2762" y="2108"/>
                </a:lnTo>
                <a:lnTo>
                  <a:pt x="2735" y="2112"/>
                </a:lnTo>
                <a:lnTo>
                  <a:pt x="2707" y="2115"/>
                </a:lnTo>
                <a:lnTo>
                  <a:pt x="2679" y="2118"/>
                </a:lnTo>
                <a:lnTo>
                  <a:pt x="2648" y="2119"/>
                </a:lnTo>
                <a:lnTo>
                  <a:pt x="2618" y="2120"/>
                </a:lnTo>
                <a:lnTo>
                  <a:pt x="2577" y="2119"/>
                </a:lnTo>
                <a:lnTo>
                  <a:pt x="2536" y="2116"/>
                </a:lnTo>
                <a:lnTo>
                  <a:pt x="2496" y="2112"/>
                </a:lnTo>
                <a:lnTo>
                  <a:pt x="2455" y="2106"/>
                </a:lnTo>
                <a:lnTo>
                  <a:pt x="2417" y="2099"/>
                </a:lnTo>
                <a:lnTo>
                  <a:pt x="2379" y="2090"/>
                </a:lnTo>
                <a:lnTo>
                  <a:pt x="2342" y="2079"/>
                </a:lnTo>
                <a:lnTo>
                  <a:pt x="2305" y="2067"/>
                </a:lnTo>
                <a:lnTo>
                  <a:pt x="2270" y="2054"/>
                </a:lnTo>
                <a:lnTo>
                  <a:pt x="2236" y="2039"/>
                </a:lnTo>
                <a:lnTo>
                  <a:pt x="2202" y="2023"/>
                </a:lnTo>
                <a:lnTo>
                  <a:pt x="2169" y="2005"/>
                </a:lnTo>
                <a:lnTo>
                  <a:pt x="2139" y="1986"/>
                </a:lnTo>
                <a:lnTo>
                  <a:pt x="2109" y="1966"/>
                </a:lnTo>
                <a:lnTo>
                  <a:pt x="2080" y="1944"/>
                </a:lnTo>
                <a:lnTo>
                  <a:pt x="2053" y="1921"/>
                </a:lnTo>
                <a:lnTo>
                  <a:pt x="2027" y="1897"/>
                </a:lnTo>
                <a:lnTo>
                  <a:pt x="2001" y="1872"/>
                </a:lnTo>
                <a:lnTo>
                  <a:pt x="1978" y="1845"/>
                </a:lnTo>
                <a:lnTo>
                  <a:pt x="1957" y="1817"/>
                </a:lnTo>
                <a:lnTo>
                  <a:pt x="1936" y="1788"/>
                </a:lnTo>
                <a:lnTo>
                  <a:pt x="1917" y="1759"/>
                </a:lnTo>
                <a:lnTo>
                  <a:pt x="1900" y="1728"/>
                </a:lnTo>
                <a:lnTo>
                  <a:pt x="1885" y="1695"/>
                </a:lnTo>
                <a:lnTo>
                  <a:pt x="1871" y="1662"/>
                </a:lnTo>
                <a:lnTo>
                  <a:pt x="1859" y="1628"/>
                </a:lnTo>
                <a:lnTo>
                  <a:pt x="1847" y="1593"/>
                </a:lnTo>
                <a:lnTo>
                  <a:pt x="1838" y="1557"/>
                </a:lnTo>
                <a:lnTo>
                  <a:pt x="1832" y="1520"/>
                </a:lnTo>
                <a:lnTo>
                  <a:pt x="1827" y="1483"/>
                </a:lnTo>
                <a:lnTo>
                  <a:pt x="1824" y="1443"/>
                </a:lnTo>
                <a:lnTo>
                  <a:pt x="1823" y="1404"/>
                </a:lnTo>
                <a:close/>
                <a:moveTo>
                  <a:pt x="4437" y="2095"/>
                </a:moveTo>
                <a:lnTo>
                  <a:pt x="4437" y="971"/>
                </a:lnTo>
                <a:lnTo>
                  <a:pt x="3731" y="971"/>
                </a:lnTo>
                <a:lnTo>
                  <a:pt x="3731" y="2095"/>
                </a:lnTo>
                <a:lnTo>
                  <a:pt x="3413" y="2095"/>
                </a:lnTo>
                <a:lnTo>
                  <a:pt x="3413" y="712"/>
                </a:lnTo>
                <a:lnTo>
                  <a:pt x="4758" y="712"/>
                </a:lnTo>
                <a:lnTo>
                  <a:pt x="4758" y="2095"/>
                </a:lnTo>
                <a:lnTo>
                  <a:pt x="4437" y="2095"/>
                </a:lnTo>
                <a:close/>
                <a:moveTo>
                  <a:pt x="6672" y="712"/>
                </a:moveTo>
                <a:lnTo>
                  <a:pt x="6672" y="971"/>
                </a:lnTo>
                <a:lnTo>
                  <a:pt x="5900" y="971"/>
                </a:lnTo>
                <a:lnTo>
                  <a:pt x="5900" y="1216"/>
                </a:lnTo>
                <a:lnTo>
                  <a:pt x="6287" y="1216"/>
                </a:lnTo>
                <a:lnTo>
                  <a:pt x="6316" y="1216"/>
                </a:lnTo>
                <a:lnTo>
                  <a:pt x="6345" y="1218"/>
                </a:lnTo>
                <a:lnTo>
                  <a:pt x="6373" y="1221"/>
                </a:lnTo>
                <a:lnTo>
                  <a:pt x="6400" y="1225"/>
                </a:lnTo>
                <a:lnTo>
                  <a:pt x="6426" y="1230"/>
                </a:lnTo>
                <a:lnTo>
                  <a:pt x="6451" y="1236"/>
                </a:lnTo>
                <a:lnTo>
                  <a:pt x="6475" y="1243"/>
                </a:lnTo>
                <a:lnTo>
                  <a:pt x="6498" y="1251"/>
                </a:lnTo>
                <a:lnTo>
                  <a:pt x="6522" y="1260"/>
                </a:lnTo>
                <a:lnTo>
                  <a:pt x="6543" y="1269"/>
                </a:lnTo>
                <a:lnTo>
                  <a:pt x="6564" y="1280"/>
                </a:lnTo>
                <a:lnTo>
                  <a:pt x="6584" y="1291"/>
                </a:lnTo>
                <a:lnTo>
                  <a:pt x="6603" y="1304"/>
                </a:lnTo>
                <a:lnTo>
                  <a:pt x="6620" y="1317"/>
                </a:lnTo>
                <a:lnTo>
                  <a:pt x="6638" y="1332"/>
                </a:lnTo>
                <a:lnTo>
                  <a:pt x="6654" y="1346"/>
                </a:lnTo>
                <a:lnTo>
                  <a:pt x="6669" y="1361"/>
                </a:lnTo>
                <a:lnTo>
                  <a:pt x="6684" y="1377"/>
                </a:lnTo>
                <a:lnTo>
                  <a:pt x="6697" y="1394"/>
                </a:lnTo>
                <a:lnTo>
                  <a:pt x="6710" y="1411"/>
                </a:lnTo>
                <a:lnTo>
                  <a:pt x="6721" y="1429"/>
                </a:lnTo>
                <a:lnTo>
                  <a:pt x="6732" y="1447"/>
                </a:lnTo>
                <a:lnTo>
                  <a:pt x="6741" y="1467"/>
                </a:lnTo>
                <a:lnTo>
                  <a:pt x="6750" y="1486"/>
                </a:lnTo>
                <a:lnTo>
                  <a:pt x="6757" y="1506"/>
                </a:lnTo>
                <a:lnTo>
                  <a:pt x="6764" y="1526"/>
                </a:lnTo>
                <a:lnTo>
                  <a:pt x="6769" y="1546"/>
                </a:lnTo>
                <a:lnTo>
                  <a:pt x="6774" y="1567"/>
                </a:lnTo>
                <a:lnTo>
                  <a:pt x="6777" y="1590"/>
                </a:lnTo>
                <a:lnTo>
                  <a:pt x="6780" y="1611"/>
                </a:lnTo>
                <a:lnTo>
                  <a:pt x="6782" y="1633"/>
                </a:lnTo>
                <a:lnTo>
                  <a:pt x="6782" y="1655"/>
                </a:lnTo>
                <a:lnTo>
                  <a:pt x="6782" y="1677"/>
                </a:lnTo>
                <a:lnTo>
                  <a:pt x="6780" y="1699"/>
                </a:lnTo>
                <a:lnTo>
                  <a:pt x="6778" y="1721"/>
                </a:lnTo>
                <a:lnTo>
                  <a:pt x="6774" y="1743"/>
                </a:lnTo>
                <a:lnTo>
                  <a:pt x="6769" y="1764"/>
                </a:lnTo>
                <a:lnTo>
                  <a:pt x="6764" y="1784"/>
                </a:lnTo>
                <a:lnTo>
                  <a:pt x="6757" y="1804"/>
                </a:lnTo>
                <a:lnTo>
                  <a:pt x="6750" y="1824"/>
                </a:lnTo>
                <a:lnTo>
                  <a:pt x="6741" y="1844"/>
                </a:lnTo>
                <a:lnTo>
                  <a:pt x="6732" y="1863"/>
                </a:lnTo>
                <a:lnTo>
                  <a:pt x="6722" y="1881"/>
                </a:lnTo>
                <a:lnTo>
                  <a:pt x="6710" y="1899"/>
                </a:lnTo>
                <a:lnTo>
                  <a:pt x="6698" y="1916"/>
                </a:lnTo>
                <a:lnTo>
                  <a:pt x="6685" y="1933"/>
                </a:lnTo>
                <a:lnTo>
                  <a:pt x="6670" y="1949"/>
                </a:lnTo>
                <a:lnTo>
                  <a:pt x="6654" y="1965"/>
                </a:lnTo>
                <a:lnTo>
                  <a:pt x="6638" y="1979"/>
                </a:lnTo>
                <a:lnTo>
                  <a:pt x="6621" y="1993"/>
                </a:lnTo>
                <a:lnTo>
                  <a:pt x="6603" y="2006"/>
                </a:lnTo>
                <a:lnTo>
                  <a:pt x="6585" y="2018"/>
                </a:lnTo>
                <a:lnTo>
                  <a:pt x="6565" y="2030"/>
                </a:lnTo>
                <a:lnTo>
                  <a:pt x="6544" y="2041"/>
                </a:lnTo>
                <a:lnTo>
                  <a:pt x="6523" y="2050"/>
                </a:lnTo>
                <a:lnTo>
                  <a:pt x="6499" y="2059"/>
                </a:lnTo>
                <a:lnTo>
                  <a:pt x="6476" y="2067"/>
                </a:lnTo>
                <a:lnTo>
                  <a:pt x="6452" y="2074"/>
                </a:lnTo>
                <a:lnTo>
                  <a:pt x="6427" y="2080"/>
                </a:lnTo>
                <a:lnTo>
                  <a:pt x="6401" y="2085"/>
                </a:lnTo>
                <a:lnTo>
                  <a:pt x="6374" y="2090"/>
                </a:lnTo>
                <a:lnTo>
                  <a:pt x="6345" y="2093"/>
                </a:lnTo>
                <a:lnTo>
                  <a:pt x="6317" y="2095"/>
                </a:lnTo>
                <a:lnTo>
                  <a:pt x="6287" y="2095"/>
                </a:lnTo>
                <a:lnTo>
                  <a:pt x="5582" y="2095"/>
                </a:lnTo>
                <a:lnTo>
                  <a:pt x="5582" y="712"/>
                </a:lnTo>
                <a:lnTo>
                  <a:pt x="6672" y="712"/>
                </a:lnTo>
                <a:close/>
                <a:moveTo>
                  <a:pt x="5900" y="1475"/>
                </a:moveTo>
                <a:lnTo>
                  <a:pt x="5900" y="1475"/>
                </a:lnTo>
                <a:lnTo>
                  <a:pt x="5900" y="1836"/>
                </a:lnTo>
                <a:lnTo>
                  <a:pt x="6245" y="1836"/>
                </a:lnTo>
                <a:lnTo>
                  <a:pt x="6268" y="1834"/>
                </a:lnTo>
                <a:lnTo>
                  <a:pt x="6289" y="1832"/>
                </a:lnTo>
                <a:lnTo>
                  <a:pt x="6310" y="1828"/>
                </a:lnTo>
                <a:lnTo>
                  <a:pt x="6330" y="1822"/>
                </a:lnTo>
                <a:lnTo>
                  <a:pt x="6348" y="1815"/>
                </a:lnTo>
                <a:lnTo>
                  <a:pt x="6367" y="1807"/>
                </a:lnTo>
                <a:lnTo>
                  <a:pt x="6383" y="1797"/>
                </a:lnTo>
                <a:lnTo>
                  <a:pt x="6398" y="1786"/>
                </a:lnTo>
                <a:lnTo>
                  <a:pt x="6411" y="1774"/>
                </a:lnTo>
                <a:lnTo>
                  <a:pt x="6423" y="1760"/>
                </a:lnTo>
                <a:lnTo>
                  <a:pt x="6428" y="1753"/>
                </a:lnTo>
                <a:lnTo>
                  <a:pt x="6433" y="1746"/>
                </a:lnTo>
                <a:lnTo>
                  <a:pt x="6437" y="1738"/>
                </a:lnTo>
                <a:lnTo>
                  <a:pt x="6441" y="1730"/>
                </a:lnTo>
                <a:lnTo>
                  <a:pt x="6445" y="1722"/>
                </a:lnTo>
                <a:lnTo>
                  <a:pt x="6448" y="1713"/>
                </a:lnTo>
                <a:lnTo>
                  <a:pt x="6451" y="1703"/>
                </a:lnTo>
                <a:lnTo>
                  <a:pt x="6453" y="1694"/>
                </a:lnTo>
                <a:lnTo>
                  <a:pt x="6455" y="1685"/>
                </a:lnTo>
                <a:lnTo>
                  <a:pt x="6456" y="1675"/>
                </a:lnTo>
                <a:lnTo>
                  <a:pt x="6457" y="1665"/>
                </a:lnTo>
                <a:lnTo>
                  <a:pt x="6457" y="1655"/>
                </a:lnTo>
                <a:lnTo>
                  <a:pt x="6457" y="1645"/>
                </a:lnTo>
                <a:lnTo>
                  <a:pt x="6456" y="1635"/>
                </a:lnTo>
                <a:lnTo>
                  <a:pt x="6455" y="1625"/>
                </a:lnTo>
                <a:lnTo>
                  <a:pt x="6453" y="1615"/>
                </a:lnTo>
                <a:lnTo>
                  <a:pt x="6451" y="1606"/>
                </a:lnTo>
                <a:lnTo>
                  <a:pt x="6448" y="1597"/>
                </a:lnTo>
                <a:lnTo>
                  <a:pt x="6445" y="1589"/>
                </a:lnTo>
                <a:lnTo>
                  <a:pt x="6441" y="1579"/>
                </a:lnTo>
                <a:lnTo>
                  <a:pt x="6437" y="1571"/>
                </a:lnTo>
                <a:lnTo>
                  <a:pt x="6433" y="1563"/>
                </a:lnTo>
                <a:lnTo>
                  <a:pt x="6428" y="1556"/>
                </a:lnTo>
                <a:lnTo>
                  <a:pt x="6423" y="1549"/>
                </a:lnTo>
                <a:lnTo>
                  <a:pt x="6411" y="1535"/>
                </a:lnTo>
                <a:lnTo>
                  <a:pt x="6398" y="1523"/>
                </a:lnTo>
                <a:lnTo>
                  <a:pt x="6383" y="1512"/>
                </a:lnTo>
                <a:lnTo>
                  <a:pt x="6367" y="1502"/>
                </a:lnTo>
                <a:lnTo>
                  <a:pt x="6348" y="1494"/>
                </a:lnTo>
                <a:lnTo>
                  <a:pt x="6330" y="1487"/>
                </a:lnTo>
                <a:lnTo>
                  <a:pt x="6310" y="1482"/>
                </a:lnTo>
                <a:lnTo>
                  <a:pt x="6289" y="1478"/>
                </a:lnTo>
                <a:lnTo>
                  <a:pt x="6268" y="1476"/>
                </a:lnTo>
                <a:lnTo>
                  <a:pt x="6245" y="1475"/>
                </a:lnTo>
                <a:lnTo>
                  <a:pt x="5900" y="1475"/>
                </a:lnTo>
                <a:close/>
                <a:moveTo>
                  <a:pt x="7602" y="2095"/>
                </a:moveTo>
                <a:lnTo>
                  <a:pt x="7602" y="1991"/>
                </a:lnTo>
                <a:lnTo>
                  <a:pt x="7587" y="2006"/>
                </a:lnTo>
                <a:lnTo>
                  <a:pt x="7572" y="2020"/>
                </a:lnTo>
                <a:lnTo>
                  <a:pt x="7555" y="2033"/>
                </a:lnTo>
                <a:lnTo>
                  <a:pt x="7537" y="2045"/>
                </a:lnTo>
                <a:lnTo>
                  <a:pt x="7518" y="2056"/>
                </a:lnTo>
                <a:lnTo>
                  <a:pt x="7499" y="2067"/>
                </a:lnTo>
                <a:lnTo>
                  <a:pt x="7477" y="2076"/>
                </a:lnTo>
                <a:lnTo>
                  <a:pt x="7456" y="2085"/>
                </a:lnTo>
                <a:lnTo>
                  <a:pt x="7433" y="2094"/>
                </a:lnTo>
                <a:lnTo>
                  <a:pt x="7410" y="2100"/>
                </a:lnTo>
                <a:lnTo>
                  <a:pt x="7387" y="2106"/>
                </a:lnTo>
                <a:lnTo>
                  <a:pt x="7362" y="2111"/>
                </a:lnTo>
                <a:lnTo>
                  <a:pt x="7337" y="2115"/>
                </a:lnTo>
                <a:lnTo>
                  <a:pt x="7311" y="2117"/>
                </a:lnTo>
                <a:lnTo>
                  <a:pt x="7285" y="2119"/>
                </a:lnTo>
                <a:lnTo>
                  <a:pt x="7259" y="2120"/>
                </a:lnTo>
                <a:lnTo>
                  <a:pt x="7243" y="2119"/>
                </a:lnTo>
                <a:lnTo>
                  <a:pt x="7227" y="2118"/>
                </a:lnTo>
                <a:lnTo>
                  <a:pt x="7210" y="2117"/>
                </a:lnTo>
                <a:lnTo>
                  <a:pt x="7194" y="2115"/>
                </a:lnTo>
                <a:lnTo>
                  <a:pt x="7177" y="2112"/>
                </a:lnTo>
                <a:lnTo>
                  <a:pt x="7160" y="2108"/>
                </a:lnTo>
                <a:lnTo>
                  <a:pt x="7144" y="2104"/>
                </a:lnTo>
                <a:lnTo>
                  <a:pt x="7128" y="2099"/>
                </a:lnTo>
                <a:lnTo>
                  <a:pt x="7111" y="2094"/>
                </a:lnTo>
                <a:lnTo>
                  <a:pt x="7096" y="2087"/>
                </a:lnTo>
                <a:lnTo>
                  <a:pt x="7080" y="2080"/>
                </a:lnTo>
                <a:lnTo>
                  <a:pt x="7065" y="2073"/>
                </a:lnTo>
                <a:lnTo>
                  <a:pt x="7050" y="2065"/>
                </a:lnTo>
                <a:lnTo>
                  <a:pt x="7035" y="2057"/>
                </a:lnTo>
                <a:lnTo>
                  <a:pt x="7021" y="2047"/>
                </a:lnTo>
                <a:lnTo>
                  <a:pt x="7007" y="2037"/>
                </a:lnTo>
                <a:lnTo>
                  <a:pt x="6993" y="2027"/>
                </a:lnTo>
                <a:lnTo>
                  <a:pt x="6980" y="2016"/>
                </a:lnTo>
                <a:lnTo>
                  <a:pt x="6968" y="2004"/>
                </a:lnTo>
                <a:lnTo>
                  <a:pt x="6957" y="1991"/>
                </a:lnTo>
                <a:lnTo>
                  <a:pt x="6946" y="1978"/>
                </a:lnTo>
                <a:lnTo>
                  <a:pt x="6936" y="1964"/>
                </a:lnTo>
                <a:lnTo>
                  <a:pt x="6926" y="1949"/>
                </a:lnTo>
                <a:lnTo>
                  <a:pt x="6918" y="1934"/>
                </a:lnTo>
                <a:lnTo>
                  <a:pt x="6910" y="1918"/>
                </a:lnTo>
                <a:lnTo>
                  <a:pt x="6903" y="1901"/>
                </a:lnTo>
                <a:lnTo>
                  <a:pt x="6898" y="1884"/>
                </a:lnTo>
                <a:lnTo>
                  <a:pt x="6893" y="1866"/>
                </a:lnTo>
                <a:lnTo>
                  <a:pt x="6889" y="1848"/>
                </a:lnTo>
                <a:lnTo>
                  <a:pt x="6886" y="1828"/>
                </a:lnTo>
                <a:lnTo>
                  <a:pt x="6884" y="1808"/>
                </a:lnTo>
                <a:lnTo>
                  <a:pt x="6884" y="1788"/>
                </a:lnTo>
                <a:lnTo>
                  <a:pt x="6884" y="1766"/>
                </a:lnTo>
                <a:lnTo>
                  <a:pt x="6886" y="1746"/>
                </a:lnTo>
                <a:lnTo>
                  <a:pt x="6889" y="1726"/>
                </a:lnTo>
                <a:lnTo>
                  <a:pt x="6893" y="1706"/>
                </a:lnTo>
                <a:lnTo>
                  <a:pt x="6898" y="1688"/>
                </a:lnTo>
                <a:lnTo>
                  <a:pt x="6903" y="1671"/>
                </a:lnTo>
                <a:lnTo>
                  <a:pt x="6910" y="1654"/>
                </a:lnTo>
                <a:lnTo>
                  <a:pt x="6918" y="1639"/>
                </a:lnTo>
                <a:lnTo>
                  <a:pt x="6926" y="1624"/>
                </a:lnTo>
                <a:lnTo>
                  <a:pt x="6936" y="1609"/>
                </a:lnTo>
                <a:lnTo>
                  <a:pt x="6946" y="1596"/>
                </a:lnTo>
                <a:lnTo>
                  <a:pt x="6957" y="1583"/>
                </a:lnTo>
                <a:lnTo>
                  <a:pt x="6968" y="1570"/>
                </a:lnTo>
                <a:lnTo>
                  <a:pt x="6980" y="1559"/>
                </a:lnTo>
                <a:lnTo>
                  <a:pt x="6993" y="1548"/>
                </a:lnTo>
                <a:lnTo>
                  <a:pt x="7007" y="1538"/>
                </a:lnTo>
                <a:lnTo>
                  <a:pt x="7021" y="1529"/>
                </a:lnTo>
                <a:lnTo>
                  <a:pt x="7035" y="1520"/>
                </a:lnTo>
                <a:lnTo>
                  <a:pt x="7050" y="1512"/>
                </a:lnTo>
                <a:lnTo>
                  <a:pt x="7065" y="1505"/>
                </a:lnTo>
                <a:lnTo>
                  <a:pt x="7080" y="1499"/>
                </a:lnTo>
                <a:lnTo>
                  <a:pt x="7096" y="1493"/>
                </a:lnTo>
                <a:lnTo>
                  <a:pt x="7111" y="1487"/>
                </a:lnTo>
                <a:lnTo>
                  <a:pt x="7128" y="1482"/>
                </a:lnTo>
                <a:lnTo>
                  <a:pt x="7144" y="1478"/>
                </a:lnTo>
                <a:lnTo>
                  <a:pt x="7160" y="1475"/>
                </a:lnTo>
                <a:lnTo>
                  <a:pt x="7177" y="1472"/>
                </a:lnTo>
                <a:lnTo>
                  <a:pt x="7194" y="1469"/>
                </a:lnTo>
                <a:lnTo>
                  <a:pt x="7210" y="1467"/>
                </a:lnTo>
                <a:lnTo>
                  <a:pt x="7227" y="1466"/>
                </a:lnTo>
                <a:lnTo>
                  <a:pt x="7243" y="1465"/>
                </a:lnTo>
                <a:lnTo>
                  <a:pt x="7259" y="1465"/>
                </a:lnTo>
                <a:lnTo>
                  <a:pt x="7286" y="1465"/>
                </a:lnTo>
                <a:lnTo>
                  <a:pt x="7312" y="1467"/>
                </a:lnTo>
                <a:lnTo>
                  <a:pt x="7338" y="1469"/>
                </a:lnTo>
                <a:lnTo>
                  <a:pt x="7363" y="1473"/>
                </a:lnTo>
                <a:lnTo>
                  <a:pt x="7388" y="1477"/>
                </a:lnTo>
                <a:lnTo>
                  <a:pt x="7412" y="1483"/>
                </a:lnTo>
                <a:lnTo>
                  <a:pt x="7435" y="1489"/>
                </a:lnTo>
                <a:lnTo>
                  <a:pt x="7457" y="1496"/>
                </a:lnTo>
                <a:lnTo>
                  <a:pt x="7479" y="1504"/>
                </a:lnTo>
                <a:lnTo>
                  <a:pt x="7500" y="1513"/>
                </a:lnTo>
                <a:lnTo>
                  <a:pt x="7520" y="1523"/>
                </a:lnTo>
                <a:lnTo>
                  <a:pt x="7539" y="1534"/>
                </a:lnTo>
                <a:lnTo>
                  <a:pt x="7556" y="1546"/>
                </a:lnTo>
                <a:lnTo>
                  <a:pt x="7573" y="1558"/>
                </a:lnTo>
                <a:lnTo>
                  <a:pt x="7588" y="1572"/>
                </a:lnTo>
                <a:lnTo>
                  <a:pt x="7602" y="1587"/>
                </a:lnTo>
                <a:lnTo>
                  <a:pt x="7602" y="1452"/>
                </a:lnTo>
                <a:lnTo>
                  <a:pt x="7601" y="1442"/>
                </a:lnTo>
                <a:lnTo>
                  <a:pt x="7601" y="1433"/>
                </a:lnTo>
                <a:lnTo>
                  <a:pt x="7599" y="1424"/>
                </a:lnTo>
                <a:lnTo>
                  <a:pt x="7597" y="1415"/>
                </a:lnTo>
                <a:lnTo>
                  <a:pt x="7595" y="1407"/>
                </a:lnTo>
                <a:lnTo>
                  <a:pt x="7592" y="1399"/>
                </a:lnTo>
                <a:lnTo>
                  <a:pt x="7589" y="1391"/>
                </a:lnTo>
                <a:lnTo>
                  <a:pt x="7585" y="1383"/>
                </a:lnTo>
                <a:lnTo>
                  <a:pt x="7581" y="1376"/>
                </a:lnTo>
                <a:lnTo>
                  <a:pt x="7576" y="1368"/>
                </a:lnTo>
                <a:lnTo>
                  <a:pt x="7570" y="1361"/>
                </a:lnTo>
                <a:lnTo>
                  <a:pt x="7565" y="1355"/>
                </a:lnTo>
                <a:lnTo>
                  <a:pt x="7552" y="1342"/>
                </a:lnTo>
                <a:lnTo>
                  <a:pt x="7537" y="1331"/>
                </a:lnTo>
                <a:lnTo>
                  <a:pt x="7521" y="1319"/>
                </a:lnTo>
                <a:lnTo>
                  <a:pt x="7503" y="1310"/>
                </a:lnTo>
                <a:lnTo>
                  <a:pt x="7483" y="1302"/>
                </a:lnTo>
                <a:lnTo>
                  <a:pt x="7462" y="1296"/>
                </a:lnTo>
                <a:lnTo>
                  <a:pt x="7440" y="1291"/>
                </a:lnTo>
                <a:lnTo>
                  <a:pt x="7416" y="1287"/>
                </a:lnTo>
                <a:lnTo>
                  <a:pt x="7391" y="1285"/>
                </a:lnTo>
                <a:lnTo>
                  <a:pt x="7365" y="1284"/>
                </a:lnTo>
                <a:lnTo>
                  <a:pt x="7343" y="1285"/>
                </a:lnTo>
                <a:lnTo>
                  <a:pt x="7321" y="1286"/>
                </a:lnTo>
                <a:lnTo>
                  <a:pt x="7300" y="1288"/>
                </a:lnTo>
                <a:lnTo>
                  <a:pt x="7279" y="1291"/>
                </a:lnTo>
                <a:lnTo>
                  <a:pt x="7258" y="1296"/>
                </a:lnTo>
                <a:lnTo>
                  <a:pt x="7238" y="1301"/>
                </a:lnTo>
                <a:lnTo>
                  <a:pt x="7218" y="1306"/>
                </a:lnTo>
                <a:lnTo>
                  <a:pt x="7198" y="1313"/>
                </a:lnTo>
                <a:lnTo>
                  <a:pt x="7178" y="1321"/>
                </a:lnTo>
                <a:lnTo>
                  <a:pt x="7158" y="1331"/>
                </a:lnTo>
                <a:lnTo>
                  <a:pt x="7139" y="1340"/>
                </a:lnTo>
                <a:lnTo>
                  <a:pt x="7120" y="1351"/>
                </a:lnTo>
                <a:lnTo>
                  <a:pt x="7102" y="1362"/>
                </a:lnTo>
                <a:lnTo>
                  <a:pt x="7084" y="1375"/>
                </a:lnTo>
                <a:lnTo>
                  <a:pt x="7066" y="1388"/>
                </a:lnTo>
                <a:lnTo>
                  <a:pt x="7049" y="1402"/>
                </a:lnTo>
                <a:lnTo>
                  <a:pt x="6941" y="1226"/>
                </a:lnTo>
                <a:lnTo>
                  <a:pt x="6966" y="1207"/>
                </a:lnTo>
                <a:lnTo>
                  <a:pt x="6992" y="1188"/>
                </a:lnTo>
                <a:lnTo>
                  <a:pt x="7020" y="1171"/>
                </a:lnTo>
                <a:lnTo>
                  <a:pt x="7047" y="1156"/>
                </a:lnTo>
                <a:lnTo>
                  <a:pt x="7075" y="1142"/>
                </a:lnTo>
                <a:lnTo>
                  <a:pt x="7104" y="1129"/>
                </a:lnTo>
                <a:lnTo>
                  <a:pt x="7133" y="1117"/>
                </a:lnTo>
                <a:lnTo>
                  <a:pt x="7163" y="1107"/>
                </a:lnTo>
                <a:lnTo>
                  <a:pt x="7194" y="1098"/>
                </a:lnTo>
                <a:lnTo>
                  <a:pt x="7224" y="1090"/>
                </a:lnTo>
                <a:lnTo>
                  <a:pt x="7255" y="1084"/>
                </a:lnTo>
                <a:lnTo>
                  <a:pt x="7286" y="1078"/>
                </a:lnTo>
                <a:lnTo>
                  <a:pt x="7318" y="1073"/>
                </a:lnTo>
                <a:lnTo>
                  <a:pt x="7350" y="1070"/>
                </a:lnTo>
                <a:lnTo>
                  <a:pt x="7382" y="1069"/>
                </a:lnTo>
                <a:lnTo>
                  <a:pt x="7414" y="1068"/>
                </a:lnTo>
                <a:lnTo>
                  <a:pt x="7437" y="1068"/>
                </a:lnTo>
                <a:lnTo>
                  <a:pt x="7459" y="1069"/>
                </a:lnTo>
                <a:lnTo>
                  <a:pt x="7482" y="1070"/>
                </a:lnTo>
                <a:lnTo>
                  <a:pt x="7505" y="1072"/>
                </a:lnTo>
                <a:lnTo>
                  <a:pt x="7527" y="1076"/>
                </a:lnTo>
                <a:lnTo>
                  <a:pt x="7549" y="1079"/>
                </a:lnTo>
                <a:lnTo>
                  <a:pt x="7570" y="1083"/>
                </a:lnTo>
                <a:lnTo>
                  <a:pt x="7591" y="1088"/>
                </a:lnTo>
                <a:lnTo>
                  <a:pt x="7612" y="1093"/>
                </a:lnTo>
                <a:lnTo>
                  <a:pt x="7632" y="1099"/>
                </a:lnTo>
                <a:lnTo>
                  <a:pt x="7653" y="1105"/>
                </a:lnTo>
                <a:lnTo>
                  <a:pt x="7672" y="1113"/>
                </a:lnTo>
                <a:lnTo>
                  <a:pt x="7691" y="1121"/>
                </a:lnTo>
                <a:lnTo>
                  <a:pt x="7708" y="1130"/>
                </a:lnTo>
                <a:lnTo>
                  <a:pt x="7726" y="1139"/>
                </a:lnTo>
                <a:lnTo>
                  <a:pt x="7742" y="1150"/>
                </a:lnTo>
                <a:lnTo>
                  <a:pt x="7758" y="1161"/>
                </a:lnTo>
                <a:lnTo>
                  <a:pt x="7773" y="1174"/>
                </a:lnTo>
                <a:lnTo>
                  <a:pt x="7788" y="1187"/>
                </a:lnTo>
                <a:lnTo>
                  <a:pt x="7801" y="1201"/>
                </a:lnTo>
                <a:lnTo>
                  <a:pt x="7815" y="1217"/>
                </a:lnTo>
                <a:lnTo>
                  <a:pt x="7827" y="1232"/>
                </a:lnTo>
                <a:lnTo>
                  <a:pt x="7838" y="1249"/>
                </a:lnTo>
                <a:lnTo>
                  <a:pt x="7847" y="1267"/>
                </a:lnTo>
                <a:lnTo>
                  <a:pt x="7856" y="1286"/>
                </a:lnTo>
                <a:lnTo>
                  <a:pt x="7864" y="1305"/>
                </a:lnTo>
                <a:lnTo>
                  <a:pt x="7871" y="1326"/>
                </a:lnTo>
                <a:lnTo>
                  <a:pt x="7876" y="1349"/>
                </a:lnTo>
                <a:lnTo>
                  <a:pt x="7881" y="1372"/>
                </a:lnTo>
                <a:lnTo>
                  <a:pt x="7884" y="1396"/>
                </a:lnTo>
                <a:lnTo>
                  <a:pt x="7886" y="1421"/>
                </a:lnTo>
                <a:lnTo>
                  <a:pt x="7886" y="1447"/>
                </a:lnTo>
                <a:lnTo>
                  <a:pt x="7886" y="2095"/>
                </a:lnTo>
                <a:lnTo>
                  <a:pt x="7602" y="2095"/>
                </a:lnTo>
                <a:close/>
                <a:moveTo>
                  <a:pt x="7602" y="1854"/>
                </a:moveTo>
                <a:lnTo>
                  <a:pt x="7602" y="1854"/>
                </a:lnTo>
                <a:lnTo>
                  <a:pt x="7602" y="1730"/>
                </a:lnTo>
                <a:lnTo>
                  <a:pt x="7592" y="1720"/>
                </a:lnTo>
                <a:lnTo>
                  <a:pt x="7582" y="1710"/>
                </a:lnTo>
                <a:lnTo>
                  <a:pt x="7571" y="1700"/>
                </a:lnTo>
                <a:lnTo>
                  <a:pt x="7559" y="1691"/>
                </a:lnTo>
                <a:lnTo>
                  <a:pt x="7547" y="1684"/>
                </a:lnTo>
                <a:lnTo>
                  <a:pt x="7533" y="1676"/>
                </a:lnTo>
                <a:lnTo>
                  <a:pt x="7519" y="1670"/>
                </a:lnTo>
                <a:lnTo>
                  <a:pt x="7505" y="1664"/>
                </a:lnTo>
                <a:lnTo>
                  <a:pt x="7490" y="1659"/>
                </a:lnTo>
                <a:lnTo>
                  <a:pt x="7473" y="1655"/>
                </a:lnTo>
                <a:lnTo>
                  <a:pt x="7457" y="1651"/>
                </a:lnTo>
                <a:lnTo>
                  <a:pt x="7441" y="1648"/>
                </a:lnTo>
                <a:lnTo>
                  <a:pt x="7424" y="1646"/>
                </a:lnTo>
                <a:lnTo>
                  <a:pt x="7408" y="1644"/>
                </a:lnTo>
                <a:lnTo>
                  <a:pt x="7391" y="1643"/>
                </a:lnTo>
                <a:lnTo>
                  <a:pt x="7374" y="1643"/>
                </a:lnTo>
                <a:lnTo>
                  <a:pt x="7353" y="1643"/>
                </a:lnTo>
                <a:lnTo>
                  <a:pt x="7333" y="1645"/>
                </a:lnTo>
                <a:lnTo>
                  <a:pt x="7313" y="1648"/>
                </a:lnTo>
                <a:lnTo>
                  <a:pt x="7294" y="1652"/>
                </a:lnTo>
                <a:lnTo>
                  <a:pt x="7277" y="1658"/>
                </a:lnTo>
                <a:lnTo>
                  <a:pt x="7260" y="1665"/>
                </a:lnTo>
                <a:lnTo>
                  <a:pt x="7244" y="1672"/>
                </a:lnTo>
                <a:lnTo>
                  <a:pt x="7230" y="1681"/>
                </a:lnTo>
                <a:lnTo>
                  <a:pt x="7217" y="1692"/>
                </a:lnTo>
                <a:lnTo>
                  <a:pt x="7205" y="1703"/>
                </a:lnTo>
                <a:lnTo>
                  <a:pt x="7195" y="1716"/>
                </a:lnTo>
                <a:lnTo>
                  <a:pt x="7186" y="1730"/>
                </a:lnTo>
                <a:lnTo>
                  <a:pt x="7183" y="1737"/>
                </a:lnTo>
                <a:lnTo>
                  <a:pt x="7180" y="1744"/>
                </a:lnTo>
                <a:lnTo>
                  <a:pt x="7177" y="1752"/>
                </a:lnTo>
                <a:lnTo>
                  <a:pt x="7175" y="1759"/>
                </a:lnTo>
                <a:lnTo>
                  <a:pt x="7173" y="1768"/>
                </a:lnTo>
                <a:lnTo>
                  <a:pt x="7172" y="1776"/>
                </a:lnTo>
                <a:lnTo>
                  <a:pt x="7171" y="1785"/>
                </a:lnTo>
                <a:lnTo>
                  <a:pt x="7170" y="1794"/>
                </a:lnTo>
                <a:lnTo>
                  <a:pt x="7171" y="1802"/>
                </a:lnTo>
                <a:lnTo>
                  <a:pt x="7172" y="1811"/>
                </a:lnTo>
                <a:lnTo>
                  <a:pt x="7173" y="1819"/>
                </a:lnTo>
                <a:lnTo>
                  <a:pt x="7175" y="1827"/>
                </a:lnTo>
                <a:lnTo>
                  <a:pt x="7177" y="1834"/>
                </a:lnTo>
                <a:lnTo>
                  <a:pt x="7180" y="1843"/>
                </a:lnTo>
                <a:lnTo>
                  <a:pt x="7183" y="1850"/>
                </a:lnTo>
                <a:lnTo>
                  <a:pt x="7186" y="1857"/>
                </a:lnTo>
                <a:lnTo>
                  <a:pt x="7195" y="1870"/>
                </a:lnTo>
                <a:lnTo>
                  <a:pt x="7205" y="1882"/>
                </a:lnTo>
                <a:lnTo>
                  <a:pt x="7217" y="1893"/>
                </a:lnTo>
                <a:lnTo>
                  <a:pt x="7230" y="1902"/>
                </a:lnTo>
                <a:lnTo>
                  <a:pt x="7244" y="1911"/>
                </a:lnTo>
                <a:lnTo>
                  <a:pt x="7260" y="1919"/>
                </a:lnTo>
                <a:lnTo>
                  <a:pt x="7277" y="1926"/>
                </a:lnTo>
                <a:lnTo>
                  <a:pt x="7294" y="1931"/>
                </a:lnTo>
                <a:lnTo>
                  <a:pt x="7313" y="1935"/>
                </a:lnTo>
                <a:lnTo>
                  <a:pt x="7333" y="1938"/>
                </a:lnTo>
                <a:lnTo>
                  <a:pt x="7353" y="1940"/>
                </a:lnTo>
                <a:lnTo>
                  <a:pt x="7374" y="1941"/>
                </a:lnTo>
                <a:lnTo>
                  <a:pt x="7391" y="1940"/>
                </a:lnTo>
                <a:lnTo>
                  <a:pt x="7408" y="1939"/>
                </a:lnTo>
                <a:lnTo>
                  <a:pt x="7424" y="1938"/>
                </a:lnTo>
                <a:lnTo>
                  <a:pt x="7441" y="1935"/>
                </a:lnTo>
                <a:lnTo>
                  <a:pt x="7457" y="1932"/>
                </a:lnTo>
                <a:lnTo>
                  <a:pt x="7473" y="1929"/>
                </a:lnTo>
                <a:lnTo>
                  <a:pt x="7490" y="1924"/>
                </a:lnTo>
                <a:lnTo>
                  <a:pt x="7505" y="1919"/>
                </a:lnTo>
                <a:lnTo>
                  <a:pt x="7519" y="1913"/>
                </a:lnTo>
                <a:lnTo>
                  <a:pt x="7533" y="1907"/>
                </a:lnTo>
                <a:lnTo>
                  <a:pt x="7547" y="1900"/>
                </a:lnTo>
                <a:lnTo>
                  <a:pt x="7559" y="1892"/>
                </a:lnTo>
                <a:lnTo>
                  <a:pt x="7571" y="1884"/>
                </a:lnTo>
                <a:lnTo>
                  <a:pt x="7582" y="1875"/>
                </a:lnTo>
                <a:lnTo>
                  <a:pt x="7592" y="1865"/>
                </a:lnTo>
                <a:lnTo>
                  <a:pt x="7602" y="1854"/>
                </a:lnTo>
                <a:close/>
                <a:moveTo>
                  <a:pt x="8147" y="2095"/>
                </a:moveTo>
                <a:lnTo>
                  <a:pt x="8147" y="1094"/>
                </a:lnTo>
                <a:lnTo>
                  <a:pt x="8431" y="1094"/>
                </a:lnTo>
                <a:lnTo>
                  <a:pt x="8431" y="1465"/>
                </a:lnTo>
                <a:lnTo>
                  <a:pt x="8878" y="1465"/>
                </a:lnTo>
                <a:lnTo>
                  <a:pt x="8878" y="1094"/>
                </a:lnTo>
                <a:lnTo>
                  <a:pt x="9163" y="1094"/>
                </a:lnTo>
                <a:lnTo>
                  <a:pt x="9163" y="2095"/>
                </a:lnTo>
                <a:lnTo>
                  <a:pt x="8878" y="2095"/>
                </a:lnTo>
                <a:lnTo>
                  <a:pt x="8878" y="1694"/>
                </a:lnTo>
                <a:lnTo>
                  <a:pt x="8431" y="1694"/>
                </a:lnTo>
                <a:lnTo>
                  <a:pt x="8431" y="2095"/>
                </a:lnTo>
                <a:lnTo>
                  <a:pt x="8147" y="2095"/>
                </a:lnTo>
                <a:close/>
                <a:moveTo>
                  <a:pt x="10127" y="2095"/>
                </a:moveTo>
                <a:lnTo>
                  <a:pt x="9840" y="1710"/>
                </a:lnTo>
                <a:lnTo>
                  <a:pt x="9709" y="1838"/>
                </a:lnTo>
                <a:lnTo>
                  <a:pt x="9709" y="2095"/>
                </a:lnTo>
                <a:lnTo>
                  <a:pt x="9426" y="2095"/>
                </a:lnTo>
                <a:lnTo>
                  <a:pt x="9426" y="1094"/>
                </a:lnTo>
                <a:lnTo>
                  <a:pt x="9709" y="1094"/>
                </a:lnTo>
                <a:lnTo>
                  <a:pt x="9709" y="1539"/>
                </a:lnTo>
                <a:lnTo>
                  <a:pt x="10120" y="1094"/>
                </a:lnTo>
                <a:lnTo>
                  <a:pt x="10469" y="1094"/>
                </a:lnTo>
                <a:lnTo>
                  <a:pt x="10041" y="1547"/>
                </a:lnTo>
                <a:lnTo>
                  <a:pt x="10482" y="2095"/>
                </a:lnTo>
                <a:lnTo>
                  <a:pt x="10127" y="2095"/>
                </a:lnTo>
                <a:close/>
                <a:moveTo>
                  <a:pt x="14428" y="1078"/>
                </a:moveTo>
                <a:lnTo>
                  <a:pt x="13892" y="3416"/>
                </a:lnTo>
                <a:lnTo>
                  <a:pt x="12440" y="3416"/>
                </a:lnTo>
                <a:lnTo>
                  <a:pt x="12977" y="1078"/>
                </a:lnTo>
                <a:lnTo>
                  <a:pt x="12555" y="0"/>
                </a:lnTo>
                <a:lnTo>
                  <a:pt x="14006" y="0"/>
                </a:lnTo>
                <a:lnTo>
                  <a:pt x="14428" y="1078"/>
                </a:lnTo>
                <a:close/>
                <a:moveTo>
                  <a:pt x="16100" y="1078"/>
                </a:moveTo>
                <a:lnTo>
                  <a:pt x="15798" y="2391"/>
                </a:lnTo>
                <a:lnTo>
                  <a:pt x="15564" y="3416"/>
                </a:lnTo>
                <a:lnTo>
                  <a:pt x="15564" y="3416"/>
                </a:lnTo>
                <a:lnTo>
                  <a:pt x="14112" y="3416"/>
                </a:lnTo>
                <a:lnTo>
                  <a:pt x="14648" y="1078"/>
                </a:lnTo>
                <a:lnTo>
                  <a:pt x="14226" y="0"/>
                </a:lnTo>
                <a:lnTo>
                  <a:pt x="14226" y="0"/>
                </a:lnTo>
                <a:lnTo>
                  <a:pt x="15678" y="0"/>
                </a:lnTo>
                <a:lnTo>
                  <a:pt x="16100" y="1078"/>
                </a:lnTo>
                <a:close/>
                <a:moveTo>
                  <a:pt x="15518" y="3302"/>
                </a:moveTo>
                <a:lnTo>
                  <a:pt x="14693" y="1191"/>
                </a:lnTo>
                <a:lnTo>
                  <a:pt x="14198" y="3346"/>
                </a:lnTo>
                <a:lnTo>
                  <a:pt x="15508" y="3346"/>
                </a:lnTo>
                <a:lnTo>
                  <a:pt x="15518" y="3302"/>
                </a:lnTo>
                <a:close/>
                <a:moveTo>
                  <a:pt x="13847" y="3302"/>
                </a:moveTo>
                <a:lnTo>
                  <a:pt x="13021" y="1191"/>
                </a:lnTo>
                <a:lnTo>
                  <a:pt x="12527" y="3346"/>
                </a:lnTo>
                <a:lnTo>
                  <a:pt x="13837" y="3346"/>
                </a:lnTo>
                <a:lnTo>
                  <a:pt x="13847" y="3302"/>
                </a:lnTo>
                <a:close/>
                <a:moveTo>
                  <a:pt x="12756" y="1078"/>
                </a:moveTo>
                <a:lnTo>
                  <a:pt x="12522" y="2097"/>
                </a:lnTo>
                <a:lnTo>
                  <a:pt x="12220" y="3416"/>
                </a:lnTo>
                <a:lnTo>
                  <a:pt x="12219" y="3416"/>
                </a:lnTo>
                <a:lnTo>
                  <a:pt x="10768" y="3416"/>
                </a:lnTo>
                <a:lnTo>
                  <a:pt x="11304" y="1078"/>
                </a:lnTo>
                <a:lnTo>
                  <a:pt x="11304" y="1078"/>
                </a:lnTo>
                <a:lnTo>
                  <a:pt x="10883" y="0"/>
                </a:lnTo>
                <a:lnTo>
                  <a:pt x="10883" y="0"/>
                </a:lnTo>
                <a:lnTo>
                  <a:pt x="12334" y="0"/>
                </a:lnTo>
                <a:lnTo>
                  <a:pt x="12335" y="0"/>
                </a:lnTo>
                <a:lnTo>
                  <a:pt x="12593" y="661"/>
                </a:lnTo>
                <a:lnTo>
                  <a:pt x="12756" y="1078"/>
                </a:lnTo>
                <a:close/>
                <a:moveTo>
                  <a:pt x="12175" y="3303"/>
                </a:moveTo>
                <a:lnTo>
                  <a:pt x="11348" y="1191"/>
                </a:lnTo>
                <a:lnTo>
                  <a:pt x="10854" y="3346"/>
                </a:lnTo>
                <a:lnTo>
                  <a:pt x="12165" y="3346"/>
                </a:lnTo>
                <a:lnTo>
                  <a:pt x="12175" y="330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0212" y="700717"/>
            <a:ext cx="2111389" cy="40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506461F7-4DC6-CF69-B04F-574ED69ECE24}"/>
              </a:ext>
            </a:extLst>
          </p:cNvPr>
          <p:cNvCxnSpPr>
            <a:cxnSpLocks/>
            <a:stCxn id="10" idx="3"/>
          </p:cNvCxnSpPr>
          <p:nvPr/>
        </p:nvCxnSpPr>
        <p:spPr>
          <a:xfrm flipV="1">
            <a:off x="9336994" y="1666956"/>
            <a:ext cx="399420" cy="161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6FE9C029-02FC-01FE-EF82-B47ACC80CA3E}"/>
              </a:ext>
            </a:extLst>
          </p:cNvPr>
          <p:cNvSpPr/>
          <p:nvPr/>
        </p:nvSpPr>
        <p:spPr>
          <a:xfrm>
            <a:off x="10069031" y="868038"/>
            <a:ext cx="1751093" cy="3585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0F8B74-3D21-4920-3B9A-5076A13FB9C1}"/>
              </a:ext>
            </a:extLst>
          </p:cNvPr>
          <p:cNvSpPr/>
          <p:nvPr/>
        </p:nvSpPr>
        <p:spPr>
          <a:xfrm>
            <a:off x="0" y="0"/>
            <a:ext cx="565892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6070A67-4301-B047-66A2-31892DABEEFB}"/>
              </a:ext>
            </a:extLst>
          </p:cNvPr>
          <p:cNvSpPr/>
          <p:nvPr/>
        </p:nvSpPr>
        <p:spPr>
          <a:xfrm>
            <a:off x="278269" y="299044"/>
            <a:ext cx="2052949" cy="48731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4982CFC-31E6-C805-E399-B845DDBBC669}"/>
              </a:ext>
            </a:extLst>
          </p:cNvPr>
          <p:cNvSpPr/>
          <p:nvPr/>
        </p:nvSpPr>
        <p:spPr>
          <a:xfrm>
            <a:off x="355908" y="319141"/>
            <a:ext cx="5502282" cy="487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банке</a:t>
            </a:r>
          </a:p>
        </p:txBody>
      </p:sp>
      <p:sp>
        <p:nvSpPr>
          <p:cNvPr id="5" name="Freeform 122">
            <a:extLst>
              <a:ext uri="{FF2B5EF4-FFF2-40B4-BE49-F238E27FC236}">
                <a16:creationId xmlns:a16="http://schemas.microsoft.com/office/drawing/2014/main" id="{527B79BD-CB2C-BEF4-C71C-DEC0B4C25964}"/>
              </a:ext>
            </a:extLst>
          </p:cNvPr>
          <p:cNvSpPr>
            <a:spLocks noEditPoints="1"/>
          </p:cNvSpPr>
          <p:nvPr/>
        </p:nvSpPr>
        <p:spPr bwMode="auto">
          <a:xfrm>
            <a:off x="4134096" y="283022"/>
            <a:ext cx="1233634" cy="1169992"/>
          </a:xfrm>
          <a:custGeom>
            <a:avLst/>
            <a:gdLst>
              <a:gd name="T0" fmla="*/ 228 w 240"/>
              <a:gd name="T1" fmla="*/ 180 h 228"/>
              <a:gd name="T2" fmla="*/ 228 w 240"/>
              <a:gd name="T3" fmla="*/ 92 h 228"/>
              <a:gd name="T4" fmla="*/ 191 w 240"/>
              <a:gd name="T5" fmla="*/ 44 h 228"/>
              <a:gd name="T6" fmla="*/ 49 w 240"/>
              <a:gd name="T7" fmla="*/ 44 h 228"/>
              <a:gd name="T8" fmla="*/ 12 w 240"/>
              <a:gd name="T9" fmla="*/ 92 h 228"/>
              <a:gd name="T10" fmla="*/ 12 w 240"/>
              <a:gd name="T11" fmla="*/ 180 h 228"/>
              <a:gd name="T12" fmla="*/ 0 w 240"/>
              <a:gd name="T13" fmla="*/ 204 h 228"/>
              <a:gd name="T14" fmla="*/ 236 w 240"/>
              <a:gd name="T15" fmla="*/ 204 h 228"/>
              <a:gd name="T16" fmla="*/ 220 w 240"/>
              <a:gd name="T17" fmla="*/ 180 h 228"/>
              <a:gd name="T18" fmla="*/ 204 w 240"/>
              <a:gd name="T19" fmla="*/ 172 h 228"/>
              <a:gd name="T20" fmla="*/ 220 w 240"/>
              <a:gd name="T21" fmla="*/ 92 h 228"/>
              <a:gd name="T22" fmla="*/ 52 w 240"/>
              <a:gd name="T23" fmla="*/ 100 h 228"/>
              <a:gd name="T24" fmla="*/ 64 w 240"/>
              <a:gd name="T25" fmla="*/ 108 h 228"/>
              <a:gd name="T26" fmla="*/ 52 w 240"/>
              <a:gd name="T27" fmla="*/ 188 h 228"/>
              <a:gd name="T28" fmla="*/ 72 w 240"/>
              <a:gd name="T29" fmla="*/ 172 h 228"/>
              <a:gd name="T30" fmla="*/ 88 w 240"/>
              <a:gd name="T31" fmla="*/ 92 h 228"/>
              <a:gd name="T32" fmla="*/ 88 w 240"/>
              <a:gd name="T33" fmla="*/ 180 h 228"/>
              <a:gd name="T34" fmla="*/ 88 w 240"/>
              <a:gd name="T35" fmla="*/ 172 h 228"/>
              <a:gd name="T36" fmla="*/ 100 w 240"/>
              <a:gd name="T37" fmla="*/ 92 h 228"/>
              <a:gd name="T38" fmla="*/ 100 w 240"/>
              <a:gd name="T39" fmla="*/ 180 h 228"/>
              <a:gd name="T40" fmla="*/ 88 w 240"/>
              <a:gd name="T41" fmla="*/ 172 h 228"/>
              <a:gd name="T42" fmla="*/ 108 w 240"/>
              <a:gd name="T43" fmla="*/ 100 h 228"/>
              <a:gd name="T44" fmla="*/ 124 w 240"/>
              <a:gd name="T45" fmla="*/ 108 h 228"/>
              <a:gd name="T46" fmla="*/ 108 w 240"/>
              <a:gd name="T47" fmla="*/ 188 h 228"/>
              <a:gd name="T48" fmla="*/ 140 w 240"/>
              <a:gd name="T49" fmla="*/ 100 h 228"/>
              <a:gd name="T50" fmla="*/ 152 w 240"/>
              <a:gd name="T51" fmla="*/ 108 h 228"/>
              <a:gd name="T52" fmla="*/ 140 w 240"/>
              <a:gd name="T53" fmla="*/ 188 h 228"/>
              <a:gd name="T54" fmla="*/ 160 w 240"/>
              <a:gd name="T55" fmla="*/ 172 h 228"/>
              <a:gd name="T56" fmla="*/ 176 w 240"/>
              <a:gd name="T57" fmla="*/ 92 h 228"/>
              <a:gd name="T58" fmla="*/ 176 w 240"/>
              <a:gd name="T59" fmla="*/ 180 h 228"/>
              <a:gd name="T60" fmla="*/ 176 w 240"/>
              <a:gd name="T61" fmla="*/ 172 h 228"/>
              <a:gd name="T62" fmla="*/ 188 w 240"/>
              <a:gd name="T63" fmla="*/ 92 h 228"/>
              <a:gd name="T64" fmla="*/ 188 w 240"/>
              <a:gd name="T65" fmla="*/ 180 h 228"/>
              <a:gd name="T66" fmla="*/ 176 w 240"/>
              <a:gd name="T67" fmla="*/ 172 h 228"/>
              <a:gd name="T68" fmla="*/ 71 w 240"/>
              <a:gd name="T69" fmla="*/ 52 h 228"/>
              <a:gd name="T70" fmla="*/ 181 w 240"/>
              <a:gd name="T71" fmla="*/ 68 h 228"/>
              <a:gd name="T72" fmla="*/ 177 w 240"/>
              <a:gd name="T73" fmla="*/ 57 h 228"/>
              <a:gd name="T74" fmla="*/ 120 w 240"/>
              <a:gd name="T75" fmla="*/ 8 h 228"/>
              <a:gd name="T76" fmla="*/ 84 w 240"/>
              <a:gd name="T77" fmla="*/ 44 h 228"/>
              <a:gd name="T78" fmla="*/ 29 w 240"/>
              <a:gd name="T79" fmla="*/ 76 h 228"/>
              <a:gd name="T80" fmla="*/ 195 w 240"/>
              <a:gd name="T81" fmla="*/ 76 h 228"/>
              <a:gd name="T82" fmla="*/ 222 w 240"/>
              <a:gd name="T83" fmla="*/ 76 h 228"/>
              <a:gd name="T84" fmla="*/ 144 w 240"/>
              <a:gd name="T85" fmla="*/ 84 h 228"/>
              <a:gd name="T86" fmla="*/ 56 w 240"/>
              <a:gd name="T87" fmla="*/ 84 h 228"/>
              <a:gd name="T88" fmla="*/ 20 w 240"/>
              <a:gd name="T89" fmla="*/ 180 h 228"/>
              <a:gd name="T90" fmla="*/ 20 w 240"/>
              <a:gd name="T91" fmla="*/ 92 h 228"/>
              <a:gd name="T92" fmla="*/ 36 w 240"/>
              <a:gd name="T93" fmla="*/ 172 h 228"/>
              <a:gd name="T94" fmla="*/ 20 w 240"/>
              <a:gd name="T95" fmla="*/ 180 h 228"/>
              <a:gd name="T96" fmla="*/ 96 w 240"/>
              <a:gd name="T97" fmla="*/ 196 h 228"/>
              <a:gd name="T98" fmla="*/ 184 w 240"/>
              <a:gd name="T99" fmla="*/ 196 h 228"/>
              <a:gd name="T100" fmla="*/ 12 w 240"/>
              <a:gd name="T101" fmla="*/ 204 h 228"/>
              <a:gd name="T102" fmla="*/ 8 w 240"/>
              <a:gd name="T103" fmla="*/ 212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40" h="228">
                <a:moveTo>
                  <a:pt x="236" y="204"/>
                </a:moveTo>
                <a:cubicBezTo>
                  <a:pt x="236" y="188"/>
                  <a:pt x="236" y="188"/>
                  <a:pt x="236" y="188"/>
                </a:cubicBezTo>
                <a:cubicBezTo>
                  <a:pt x="228" y="188"/>
                  <a:pt x="228" y="188"/>
                  <a:pt x="228" y="188"/>
                </a:cubicBezTo>
                <a:cubicBezTo>
                  <a:pt x="228" y="180"/>
                  <a:pt x="228" y="180"/>
                  <a:pt x="228" y="180"/>
                </a:cubicBezTo>
                <a:cubicBezTo>
                  <a:pt x="228" y="176"/>
                  <a:pt x="224" y="172"/>
                  <a:pt x="220" y="172"/>
                </a:cubicBezTo>
                <a:cubicBezTo>
                  <a:pt x="220" y="108"/>
                  <a:pt x="220" y="108"/>
                  <a:pt x="220" y="108"/>
                </a:cubicBezTo>
                <a:cubicBezTo>
                  <a:pt x="224" y="108"/>
                  <a:pt x="228" y="104"/>
                  <a:pt x="228" y="100"/>
                </a:cubicBezTo>
                <a:cubicBezTo>
                  <a:pt x="228" y="92"/>
                  <a:pt x="228" y="92"/>
                  <a:pt x="228" y="92"/>
                </a:cubicBezTo>
                <a:cubicBezTo>
                  <a:pt x="238" y="92"/>
                  <a:pt x="238" y="92"/>
                  <a:pt x="238" y="92"/>
                </a:cubicBezTo>
                <a:cubicBezTo>
                  <a:pt x="226" y="68"/>
                  <a:pt x="226" y="68"/>
                  <a:pt x="226" y="68"/>
                </a:cubicBezTo>
                <a:cubicBezTo>
                  <a:pt x="199" y="68"/>
                  <a:pt x="199" y="68"/>
                  <a:pt x="199" y="68"/>
                </a:cubicBezTo>
                <a:cubicBezTo>
                  <a:pt x="191" y="44"/>
                  <a:pt x="191" y="44"/>
                  <a:pt x="191" y="44"/>
                </a:cubicBezTo>
                <a:cubicBezTo>
                  <a:pt x="186" y="44"/>
                  <a:pt x="186" y="44"/>
                  <a:pt x="186" y="44"/>
                </a:cubicBezTo>
                <a:cubicBezTo>
                  <a:pt x="183" y="19"/>
                  <a:pt x="155" y="0"/>
                  <a:pt x="120" y="0"/>
                </a:cubicBezTo>
                <a:cubicBezTo>
                  <a:pt x="85" y="0"/>
                  <a:pt x="57" y="19"/>
                  <a:pt x="54" y="44"/>
                </a:cubicBezTo>
                <a:cubicBezTo>
                  <a:pt x="49" y="44"/>
                  <a:pt x="49" y="44"/>
                  <a:pt x="49" y="44"/>
                </a:cubicBezTo>
                <a:cubicBezTo>
                  <a:pt x="41" y="68"/>
                  <a:pt x="41" y="68"/>
                  <a:pt x="41" y="68"/>
                </a:cubicBezTo>
                <a:cubicBezTo>
                  <a:pt x="14" y="68"/>
                  <a:pt x="14" y="68"/>
                  <a:pt x="14" y="68"/>
                </a:cubicBezTo>
                <a:cubicBezTo>
                  <a:pt x="2" y="92"/>
                  <a:pt x="2" y="92"/>
                  <a:pt x="2" y="92"/>
                </a:cubicBezTo>
                <a:cubicBezTo>
                  <a:pt x="12" y="92"/>
                  <a:pt x="12" y="92"/>
                  <a:pt x="12" y="92"/>
                </a:cubicBezTo>
                <a:cubicBezTo>
                  <a:pt x="12" y="100"/>
                  <a:pt x="12" y="100"/>
                  <a:pt x="12" y="100"/>
                </a:cubicBezTo>
                <a:cubicBezTo>
                  <a:pt x="12" y="104"/>
                  <a:pt x="16" y="108"/>
                  <a:pt x="20" y="108"/>
                </a:cubicBezTo>
                <a:cubicBezTo>
                  <a:pt x="20" y="172"/>
                  <a:pt x="20" y="172"/>
                  <a:pt x="20" y="172"/>
                </a:cubicBezTo>
                <a:cubicBezTo>
                  <a:pt x="16" y="172"/>
                  <a:pt x="12" y="176"/>
                  <a:pt x="12" y="180"/>
                </a:cubicBezTo>
                <a:cubicBezTo>
                  <a:pt x="12" y="188"/>
                  <a:pt x="12" y="188"/>
                  <a:pt x="12" y="188"/>
                </a:cubicBezTo>
                <a:cubicBezTo>
                  <a:pt x="4" y="188"/>
                  <a:pt x="4" y="188"/>
                  <a:pt x="4" y="188"/>
                </a:cubicBezTo>
                <a:cubicBezTo>
                  <a:pt x="4" y="204"/>
                  <a:pt x="4" y="204"/>
                  <a:pt x="4" y="204"/>
                </a:cubicBezTo>
                <a:cubicBezTo>
                  <a:pt x="0" y="204"/>
                  <a:pt x="0" y="204"/>
                  <a:pt x="0" y="204"/>
                </a:cubicBezTo>
                <a:cubicBezTo>
                  <a:pt x="0" y="228"/>
                  <a:pt x="0" y="228"/>
                  <a:pt x="0" y="228"/>
                </a:cubicBezTo>
                <a:cubicBezTo>
                  <a:pt x="240" y="228"/>
                  <a:pt x="240" y="228"/>
                  <a:pt x="240" y="228"/>
                </a:cubicBezTo>
                <a:cubicBezTo>
                  <a:pt x="240" y="204"/>
                  <a:pt x="240" y="204"/>
                  <a:pt x="240" y="204"/>
                </a:cubicBezTo>
                <a:lnTo>
                  <a:pt x="236" y="204"/>
                </a:lnTo>
                <a:close/>
                <a:moveTo>
                  <a:pt x="220" y="100"/>
                </a:moveTo>
                <a:cubicBezTo>
                  <a:pt x="216" y="100"/>
                  <a:pt x="212" y="104"/>
                  <a:pt x="212" y="108"/>
                </a:cubicBezTo>
                <a:cubicBezTo>
                  <a:pt x="212" y="172"/>
                  <a:pt x="212" y="172"/>
                  <a:pt x="212" y="172"/>
                </a:cubicBezTo>
                <a:cubicBezTo>
                  <a:pt x="212" y="176"/>
                  <a:pt x="216" y="180"/>
                  <a:pt x="220" y="180"/>
                </a:cubicBezTo>
                <a:cubicBezTo>
                  <a:pt x="220" y="188"/>
                  <a:pt x="220" y="188"/>
                  <a:pt x="220" y="188"/>
                </a:cubicBezTo>
                <a:cubicBezTo>
                  <a:pt x="196" y="188"/>
                  <a:pt x="196" y="188"/>
                  <a:pt x="196" y="188"/>
                </a:cubicBezTo>
                <a:cubicBezTo>
                  <a:pt x="196" y="180"/>
                  <a:pt x="196" y="180"/>
                  <a:pt x="196" y="180"/>
                </a:cubicBezTo>
                <a:cubicBezTo>
                  <a:pt x="200" y="180"/>
                  <a:pt x="204" y="176"/>
                  <a:pt x="204" y="172"/>
                </a:cubicBezTo>
                <a:cubicBezTo>
                  <a:pt x="204" y="108"/>
                  <a:pt x="204" y="108"/>
                  <a:pt x="204" y="108"/>
                </a:cubicBezTo>
                <a:cubicBezTo>
                  <a:pt x="204" y="104"/>
                  <a:pt x="200" y="100"/>
                  <a:pt x="196" y="100"/>
                </a:cubicBezTo>
                <a:cubicBezTo>
                  <a:pt x="196" y="92"/>
                  <a:pt x="196" y="92"/>
                  <a:pt x="196" y="92"/>
                </a:cubicBezTo>
                <a:cubicBezTo>
                  <a:pt x="220" y="92"/>
                  <a:pt x="220" y="92"/>
                  <a:pt x="220" y="92"/>
                </a:cubicBezTo>
                <a:lnTo>
                  <a:pt x="220" y="100"/>
                </a:lnTo>
                <a:close/>
                <a:moveTo>
                  <a:pt x="44" y="172"/>
                </a:moveTo>
                <a:cubicBezTo>
                  <a:pt x="44" y="108"/>
                  <a:pt x="44" y="108"/>
                  <a:pt x="44" y="108"/>
                </a:cubicBezTo>
                <a:cubicBezTo>
                  <a:pt x="48" y="108"/>
                  <a:pt x="52" y="104"/>
                  <a:pt x="52" y="100"/>
                </a:cubicBezTo>
                <a:cubicBezTo>
                  <a:pt x="52" y="92"/>
                  <a:pt x="52" y="92"/>
                  <a:pt x="52" y="92"/>
                </a:cubicBezTo>
                <a:cubicBezTo>
                  <a:pt x="56" y="92"/>
                  <a:pt x="56" y="92"/>
                  <a:pt x="56" y="92"/>
                </a:cubicBezTo>
                <a:cubicBezTo>
                  <a:pt x="56" y="100"/>
                  <a:pt x="56" y="100"/>
                  <a:pt x="56" y="100"/>
                </a:cubicBezTo>
                <a:cubicBezTo>
                  <a:pt x="56" y="104"/>
                  <a:pt x="60" y="108"/>
                  <a:pt x="64" y="108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60" y="172"/>
                  <a:pt x="56" y="176"/>
                  <a:pt x="56" y="180"/>
                </a:cubicBezTo>
                <a:cubicBezTo>
                  <a:pt x="56" y="188"/>
                  <a:pt x="56" y="188"/>
                  <a:pt x="56" y="188"/>
                </a:cubicBezTo>
                <a:cubicBezTo>
                  <a:pt x="52" y="188"/>
                  <a:pt x="52" y="188"/>
                  <a:pt x="52" y="188"/>
                </a:cubicBezTo>
                <a:cubicBezTo>
                  <a:pt x="52" y="180"/>
                  <a:pt x="52" y="180"/>
                  <a:pt x="52" y="180"/>
                </a:cubicBezTo>
                <a:cubicBezTo>
                  <a:pt x="52" y="176"/>
                  <a:pt x="48" y="172"/>
                  <a:pt x="44" y="172"/>
                </a:cubicBezTo>
                <a:close/>
                <a:moveTo>
                  <a:pt x="64" y="180"/>
                </a:moveTo>
                <a:cubicBezTo>
                  <a:pt x="68" y="180"/>
                  <a:pt x="72" y="176"/>
                  <a:pt x="72" y="172"/>
                </a:cubicBezTo>
                <a:cubicBezTo>
                  <a:pt x="72" y="108"/>
                  <a:pt x="72" y="108"/>
                  <a:pt x="72" y="108"/>
                </a:cubicBezTo>
                <a:cubicBezTo>
                  <a:pt x="72" y="104"/>
                  <a:pt x="68" y="100"/>
                  <a:pt x="64" y="100"/>
                </a:cubicBezTo>
                <a:cubicBezTo>
                  <a:pt x="64" y="92"/>
                  <a:pt x="64" y="92"/>
                  <a:pt x="64" y="92"/>
                </a:cubicBezTo>
                <a:cubicBezTo>
                  <a:pt x="88" y="92"/>
                  <a:pt x="88" y="92"/>
                  <a:pt x="88" y="92"/>
                </a:cubicBezTo>
                <a:cubicBezTo>
                  <a:pt x="88" y="100"/>
                  <a:pt x="88" y="100"/>
                  <a:pt x="88" y="100"/>
                </a:cubicBezTo>
                <a:cubicBezTo>
                  <a:pt x="84" y="100"/>
                  <a:pt x="80" y="104"/>
                  <a:pt x="80" y="108"/>
                </a:cubicBezTo>
                <a:cubicBezTo>
                  <a:pt x="80" y="172"/>
                  <a:pt x="80" y="172"/>
                  <a:pt x="80" y="172"/>
                </a:cubicBezTo>
                <a:cubicBezTo>
                  <a:pt x="80" y="176"/>
                  <a:pt x="84" y="180"/>
                  <a:pt x="88" y="180"/>
                </a:cubicBezTo>
                <a:cubicBezTo>
                  <a:pt x="88" y="188"/>
                  <a:pt x="88" y="188"/>
                  <a:pt x="88" y="188"/>
                </a:cubicBezTo>
                <a:cubicBezTo>
                  <a:pt x="64" y="188"/>
                  <a:pt x="64" y="188"/>
                  <a:pt x="64" y="188"/>
                </a:cubicBezTo>
                <a:lnTo>
                  <a:pt x="64" y="180"/>
                </a:lnTo>
                <a:close/>
                <a:moveTo>
                  <a:pt x="88" y="172"/>
                </a:moveTo>
                <a:cubicBezTo>
                  <a:pt x="88" y="108"/>
                  <a:pt x="88" y="108"/>
                  <a:pt x="88" y="108"/>
                </a:cubicBezTo>
                <a:cubicBezTo>
                  <a:pt x="92" y="108"/>
                  <a:pt x="96" y="104"/>
                  <a:pt x="96" y="100"/>
                </a:cubicBezTo>
                <a:cubicBezTo>
                  <a:pt x="96" y="92"/>
                  <a:pt x="96" y="92"/>
                  <a:pt x="96" y="92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100" y="100"/>
                  <a:pt x="100" y="100"/>
                  <a:pt x="100" y="100"/>
                </a:cubicBezTo>
                <a:cubicBezTo>
                  <a:pt x="100" y="104"/>
                  <a:pt x="104" y="108"/>
                  <a:pt x="108" y="108"/>
                </a:cubicBezTo>
                <a:cubicBezTo>
                  <a:pt x="108" y="172"/>
                  <a:pt x="108" y="172"/>
                  <a:pt x="108" y="172"/>
                </a:cubicBezTo>
                <a:cubicBezTo>
                  <a:pt x="104" y="172"/>
                  <a:pt x="100" y="176"/>
                  <a:pt x="100" y="180"/>
                </a:cubicBezTo>
                <a:cubicBezTo>
                  <a:pt x="100" y="188"/>
                  <a:pt x="100" y="188"/>
                  <a:pt x="100" y="188"/>
                </a:cubicBezTo>
                <a:cubicBezTo>
                  <a:pt x="96" y="188"/>
                  <a:pt x="96" y="188"/>
                  <a:pt x="96" y="188"/>
                </a:cubicBezTo>
                <a:cubicBezTo>
                  <a:pt x="96" y="180"/>
                  <a:pt x="96" y="180"/>
                  <a:pt x="96" y="180"/>
                </a:cubicBezTo>
                <a:cubicBezTo>
                  <a:pt x="96" y="176"/>
                  <a:pt x="92" y="172"/>
                  <a:pt x="88" y="172"/>
                </a:cubicBezTo>
                <a:close/>
                <a:moveTo>
                  <a:pt x="108" y="180"/>
                </a:moveTo>
                <a:cubicBezTo>
                  <a:pt x="112" y="180"/>
                  <a:pt x="116" y="176"/>
                  <a:pt x="116" y="172"/>
                </a:cubicBezTo>
                <a:cubicBezTo>
                  <a:pt x="116" y="108"/>
                  <a:pt x="116" y="108"/>
                  <a:pt x="116" y="108"/>
                </a:cubicBezTo>
                <a:cubicBezTo>
                  <a:pt x="116" y="104"/>
                  <a:pt x="112" y="100"/>
                  <a:pt x="108" y="100"/>
                </a:cubicBezTo>
                <a:cubicBezTo>
                  <a:pt x="108" y="92"/>
                  <a:pt x="108" y="92"/>
                  <a:pt x="108" y="92"/>
                </a:cubicBezTo>
                <a:cubicBezTo>
                  <a:pt x="132" y="92"/>
                  <a:pt x="132" y="92"/>
                  <a:pt x="132" y="92"/>
                </a:cubicBezTo>
                <a:cubicBezTo>
                  <a:pt x="132" y="100"/>
                  <a:pt x="132" y="100"/>
                  <a:pt x="132" y="100"/>
                </a:cubicBezTo>
                <a:cubicBezTo>
                  <a:pt x="128" y="100"/>
                  <a:pt x="124" y="104"/>
                  <a:pt x="124" y="108"/>
                </a:cubicBezTo>
                <a:cubicBezTo>
                  <a:pt x="124" y="172"/>
                  <a:pt x="124" y="172"/>
                  <a:pt x="124" y="172"/>
                </a:cubicBezTo>
                <a:cubicBezTo>
                  <a:pt x="124" y="176"/>
                  <a:pt x="128" y="180"/>
                  <a:pt x="132" y="180"/>
                </a:cubicBezTo>
                <a:cubicBezTo>
                  <a:pt x="132" y="188"/>
                  <a:pt x="132" y="188"/>
                  <a:pt x="132" y="188"/>
                </a:cubicBezTo>
                <a:cubicBezTo>
                  <a:pt x="108" y="188"/>
                  <a:pt x="108" y="188"/>
                  <a:pt x="108" y="188"/>
                </a:cubicBezTo>
                <a:lnTo>
                  <a:pt x="108" y="180"/>
                </a:lnTo>
                <a:close/>
                <a:moveTo>
                  <a:pt x="132" y="172"/>
                </a:moveTo>
                <a:cubicBezTo>
                  <a:pt x="132" y="108"/>
                  <a:pt x="132" y="108"/>
                  <a:pt x="132" y="108"/>
                </a:cubicBezTo>
                <a:cubicBezTo>
                  <a:pt x="136" y="108"/>
                  <a:pt x="140" y="104"/>
                  <a:pt x="140" y="100"/>
                </a:cubicBezTo>
                <a:cubicBezTo>
                  <a:pt x="140" y="92"/>
                  <a:pt x="140" y="92"/>
                  <a:pt x="140" y="92"/>
                </a:cubicBezTo>
                <a:cubicBezTo>
                  <a:pt x="144" y="92"/>
                  <a:pt x="144" y="92"/>
                  <a:pt x="144" y="92"/>
                </a:cubicBezTo>
                <a:cubicBezTo>
                  <a:pt x="144" y="100"/>
                  <a:pt x="144" y="100"/>
                  <a:pt x="144" y="100"/>
                </a:cubicBezTo>
                <a:cubicBezTo>
                  <a:pt x="144" y="104"/>
                  <a:pt x="148" y="108"/>
                  <a:pt x="152" y="108"/>
                </a:cubicBezTo>
                <a:cubicBezTo>
                  <a:pt x="152" y="172"/>
                  <a:pt x="152" y="172"/>
                  <a:pt x="152" y="172"/>
                </a:cubicBezTo>
                <a:cubicBezTo>
                  <a:pt x="148" y="172"/>
                  <a:pt x="144" y="176"/>
                  <a:pt x="144" y="180"/>
                </a:cubicBezTo>
                <a:cubicBezTo>
                  <a:pt x="144" y="188"/>
                  <a:pt x="144" y="188"/>
                  <a:pt x="144" y="188"/>
                </a:cubicBezTo>
                <a:cubicBezTo>
                  <a:pt x="140" y="188"/>
                  <a:pt x="140" y="188"/>
                  <a:pt x="140" y="188"/>
                </a:cubicBezTo>
                <a:cubicBezTo>
                  <a:pt x="140" y="180"/>
                  <a:pt x="140" y="180"/>
                  <a:pt x="140" y="180"/>
                </a:cubicBezTo>
                <a:cubicBezTo>
                  <a:pt x="140" y="176"/>
                  <a:pt x="136" y="172"/>
                  <a:pt x="132" y="172"/>
                </a:cubicBezTo>
                <a:close/>
                <a:moveTo>
                  <a:pt x="152" y="180"/>
                </a:moveTo>
                <a:cubicBezTo>
                  <a:pt x="156" y="180"/>
                  <a:pt x="160" y="176"/>
                  <a:pt x="160" y="172"/>
                </a:cubicBezTo>
                <a:cubicBezTo>
                  <a:pt x="160" y="108"/>
                  <a:pt x="160" y="108"/>
                  <a:pt x="160" y="108"/>
                </a:cubicBezTo>
                <a:cubicBezTo>
                  <a:pt x="160" y="104"/>
                  <a:pt x="156" y="100"/>
                  <a:pt x="152" y="100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76" y="92"/>
                  <a:pt x="176" y="92"/>
                  <a:pt x="176" y="92"/>
                </a:cubicBezTo>
                <a:cubicBezTo>
                  <a:pt x="176" y="100"/>
                  <a:pt x="176" y="100"/>
                  <a:pt x="176" y="100"/>
                </a:cubicBezTo>
                <a:cubicBezTo>
                  <a:pt x="172" y="100"/>
                  <a:pt x="168" y="104"/>
                  <a:pt x="168" y="108"/>
                </a:cubicBezTo>
                <a:cubicBezTo>
                  <a:pt x="168" y="172"/>
                  <a:pt x="168" y="172"/>
                  <a:pt x="168" y="172"/>
                </a:cubicBezTo>
                <a:cubicBezTo>
                  <a:pt x="168" y="176"/>
                  <a:pt x="172" y="180"/>
                  <a:pt x="176" y="180"/>
                </a:cubicBezTo>
                <a:cubicBezTo>
                  <a:pt x="176" y="188"/>
                  <a:pt x="176" y="188"/>
                  <a:pt x="176" y="188"/>
                </a:cubicBezTo>
                <a:cubicBezTo>
                  <a:pt x="152" y="188"/>
                  <a:pt x="152" y="188"/>
                  <a:pt x="152" y="188"/>
                </a:cubicBezTo>
                <a:lnTo>
                  <a:pt x="152" y="180"/>
                </a:lnTo>
                <a:close/>
                <a:moveTo>
                  <a:pt x="176" y="172"/>
                </a:moveTo>
                <a:cubicBezTo>
                  <a:pt x="176" y="108"/>
                  <a:pt x="176" y="108"/>
                  <a:pt x="176" y="108"/>
                </a:cubicBezTo>
                <a:cubicBezTo>
                  <a:pt x="180" y="108"/>
                  <a:pt x="184" y="104"/>
                  <a:pt x="184" y="100"/>
                </a:cubicBezTo>
                <a:cubicBezTo>
                  <a:pt x="184" y="92"/>
                  <a:pt x="184" y="92"/>
                  <a:pt x="184" y="92"/>
                </a:cubicBezTo>
                <a:cubicBezTo>
                  <a:pt x="188" y="92"/>
                  <a:pt x="188" y="92"/>
                  <a:pt x="188" y="92"/>
                </a:cubicBezTo>
                <a:cubicBezTo>
                  <a:pt x="188" y="100"/>
                  <a:pt x="188" y="100"/>
                  <a:pt x="188" y="100"/>
                </a:cubicBezTo>
                <a:cubicBezTo>
                  <a:pt x="188" y="104"/>
                  <a:pt x="192" y="108"/>
                  <a:pt x="196" y="108"/>
                </a:cubicBezTo>
                <a:cubicBezTo>
                  <a:pt x="196" y="172"/>
                  <a:pt x="196" y="172"/>
                  <a:pt x="196" y="172"/>
                </a:cubicBezTo>
                <a:cubicBezTo>
                  <a:pt x="192" y="172"/>
                  <a:pt x="188" y="176"/>
                  <a:pt x="188" y="180"/>
                </a:cubicBezTo>
                <a:cubicBezTo>
                  <a:pt x="188" y="188"/>
                  <a:pt x="188" y="188"/>
                  <a:pt x="188" y="188"/>
                </a:cubicBezTo>
                <a:cubicBezTo>
                  <a:pt x="184" y="188"/>
                  <a:pt x="184" y="188"/>
                  <a:pt x="184" y="188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76"/>
                  <a:pt x="180" y="172"/>
                  <a:pt x="176" y="172"/>
                </a:cubicBezTo>
                <a:close/>
                <a:moveTo>
                  <a:pt x="63" y="57"/>
                </a:moveTo>
                <a:cubicBezTo>
                  <a:pt x="51" y="63"/>
                  <a:pt x="51" y="63"/>
                  <a:pt x="51" y="63"/>
                </a:cubicBezTo>
                <a:cubicBezTo>
                  <a:pt x="55" y="52"/>
                  <a:pt x="55" y="52"/>
                  <a:pt x="55" y="52"/>
                </a:cubicBezTo>
                <a:cubicBezTo>
                  <a:pt x="71" y="52"/>
                  <a:pt x="71" y="52"/>
                  <a:pt x="71" y="52"/>
                </a:cubicBezTo>
                <a:lnTo>
                  <a:pt x="63" y="57"/>
                </a:lnTo>
                <a:close/>
                <a:moveTo>
                  <a:pt x="69" y="62"/>
                </a:moveTo>
                <a:cubicBezTo>
                  <a:pt x="120" y="33"/>
                  <a:pt x="120" y="33"/>
                  <a:pt x="120" y="33"/>
                </a:cubicBezTo>
                <a:cubicBezTo>
                  <a:pt x="181" y="68"/>
                  <a:pt x="181" y="68"/>
                  <a:pt x="181" y="68"/>
                </a:cubicBezTo>
                <a:cubicBezTo>
                  <a:pt x="59" y="68"/>
                  <a:pt x="59" y="68"/>
                  <a:pt x="59" y="68"/>
                </a:cubicBezTo>
                <a:lnTo>
                  <a:pt x="69" y="62"/>
                </a:lnTo>
                <a:close/>
                <a:moveTo>
                  <a:pt x="189" y="63"/>
                </a:moveTo>
                <a:cubicBezTo>
                  <a:pt x="177" y="57"/>
                  <a:pt x="177" y="57"/>
                  <a:pt x="177" y="57"/>
                </a:cubicBezTo>
                <a:cubicBezTo>
                  <a:pt x="169" y="52"/>
                  <a:pt x="169" y="52"/>
                  <a:pt x="169" y="52"/>
                </a:cubicBezTo>
                <a:cubicBezTo>
                  <a:pt x="185" y="52"/>
                  <a:pt x="185" y="52"/>
                  <a:pt x="185" y="52"/>
                </a:cubicBezTo>
                <a:lnTo>
                  <a:pt x="189" y="63"/>
                </a:lnTo>
                <a:close/>
                <a:moveTo>
                  <a:pt x="120" y="8"/>
                </a:moveTo>
                <a:cubicBezTo>
                  <a:pt x="150" y="8"/>
                  <a:pt x="175" y="24"/>
                  <a:pt x="178" y="44"/>
                </a:cubicBezTo>
                <a:cubicBezTo>
                  <a:pt x="156" y="44"/>
                  <a:pt x="156" y="44"/>
                  <a:pt x="156" y="44"/>
                </a:cubicBezTo>
                <a:cubicBezTo>
                  <a:pt x="120" y="23"/>
                  <a:pt x="120" y="23"/>
                  <a:pt x="120" y="23"/>
                </a:cubicBezTo>
                <a:cubicBezTo>
                  <a:pt x="84" y="44"/>
                  <a:pt x="84" y="44"/>
                  <a:pt x="84" y="44"/>
                </a:cubicBezTo>
                <a:cubicBezTo>
                  <a:pt x="62" y="44"/>
                  <a:pt x="62" y="44"/>
                  <a:pt x="62" y="44"/>
                </a:cubicBezTo>
                <a:cubicBezTo>
                  <a:pt x="65" y="24"/>
                  <a:pt x="90" y="8"/>
                  <a:pt x="120" y="8"/>
                </a:cubicBezTo>
                <a:close/>
                <a:moveTo>
                  <a:pt x="18" y="76"/>
                </a:moveTo>
                <a:cubicBezTo>
                  <a:pt x="29" y="76"/>
                  <a:pt x="29" y="76"/>
                  <a:pt x="29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4" y="76"/>
                  <a:pt x="44" y="76"/>
                  <a:pt x="44" y="76"/>
                </a:cubicBezTo>
                <a:cubicBezTo>
                  <a:pt x="45" y="76"/>
                  <a:pt x="45" y="76"/>
                  <a:pt x="45" y="76"/>
                </a:cubicBezTo>
                <a:cubicBezTo>
                  <a:pt x="195" y="76"/>
                  <a:pt x="195" y="76"/>
                  <a:pt x="195" y="76"/>
                </a:cubicBezTo>
                <a:cubicBezTo>
                  <a:pt x="196" y="76"/>
                  <a:pt x="196" y="76"/>
                  <a:pt x="196" y="76"/>
                </a:cubicBezTo>
                <a:cubicBezTo>
                  <a:pt x="197" y="76"/>
                  <a:pt x="197" y="76"/>
                  <a:pt x="197" y="76"/>
                </a:cubicBezTo>
                <a:cubicBezTo>
                  <a:pt x="211" y="76"/>
                  <a:pt x="211" y="76"/>
                  <a:pt x="211" y="76"/>
                </a:cubicBezTo>
                <a:cubicBezTo>
                  <a:pt x="222" y="76"/>
                  <a:pt x="222" y="76"/>
                  <a:pt x="222" y="76"/>
                </a:cubicBezTo>
                <a:cubicBezTo>
                  <a:pt x="226" y="84"/>
                  <a:pt x="226" y="84"/>
                  <a:pt x="226" y="84"/>
                </a:cubicBezTo>
                <a:cubicBezTo>
                  <a:pt x="188" y="84"/>
                  <a:pt x="188" y="84"/>
                  <a:pt x="188" y="84"/>
                </a:cubicBezTo>
                <a:cubicBezTo>
                  <a:pt x="184" y="84"/>
                  <a:pt x="184" y="84"/>
                  <a:pt x="184" y="84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00" y="84"/>
                  <a:pt x="100" y="84"/>
                  <a:pt x="100" y="84"/>
                </a:cubicBezTo>
                <a:cubicBezTo>
                  <a:pt x="96" y="84"/>
                  <a:pt x="96" y="84"/>
                  <a:pt x="96" y="84"/>
                </a:cubicBezTo>
                <a:cubicBezTo>
                  <a:pt x="56" y="84"/>
                  <a:pt x="56" y="84"/>
                  <a:pt x="56" y="84"/>
                </a:cubicBezTo>
                <a:cubicBezTo>
                  <a:pt x="52" y="84"/>
                  <a:pt x="52" y="84"/>
                  <a:pt x="52" y="84"/>
                </a:cubicBezTo>
                <a:cubicBezTo>
                  <a:pt x="14" y="84"/>
                  <a:pt x="14" y="84"/>
                  <a:pt x="14" y="84"/>
                </a:cubicBezTo>
                <a:lnTo>
                  <a:pt x="18" y="76"/>
                </a:lnTo>
                <a:close/>
                <a:moveTo>
                  <a:pt x="20" y="180"/>
                </a:moveTo>
                <a:cubicBezTo>
                  <a:pt x="24" y="180"/>
                  <a:pt x="28" y="176"/>
                  <a:pt x="28" y="172"/>
                </a:cubicBezTo>
                <a:cubicBezTo>
                  <a:pt x="28" y="108"/>
                  <a:pt x="28" y="108"/>
                  <a:pt x="28" y="108"/>
                </a:cubicBezTo>
                <a:cubicBezTo>
                  <a:pt x="28" y="104"/>
                  <a:pt x="24" y="100"/>
                  <a:pt x="20" y="100"/>
                </a:cubicBezTo>
                <a:cubicBezTo>
                  <a:pt x="20" y="92"/>
                  <a:pt x="20" y="92"/>
                  <a:pt x="20" y="92"/>
                </a:cubicBezTo>
                <a:cubicBezTo>
                  <a:pt x="44" y="92"/>
                  <a:pt x="44" y="92"/>
                  <a:pt x="44" y="92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40" y="100"/>
                  <a:pt x="36" y="104"/>
                  <a:pt x="36" y="108"/>
                </a:cubicBezTo>
                <a:cubicBezTo>
                  <a:pt x="36" y="172"/>
                  <a:pt x="36" y="172"/>
                  <a:pt x="36" y="172"/>
                </a:cubicBezTo>
                <a:cubicBezTo>
                  <a:pt x="36" y="176"/>
                  <a:pt x="40" y="180"/>
                  <a:pt x="44" y="180"/>
                </a:cubicBezTo>
                <a:cubicBezTo>
                  <a:pt x="44" y="188"/>
                  <a:pt x="44" y="188"/>
                  <a:pt x="44" y="188"/>
                </a:cubicBezTo>
                <a:cubicBezTo>
                  <a:pt x="20" y="188"/>
                  <a:pt x="20" y="188"/>
                  <a:pt x="20" y="188"/>
                </a:cubicBezTo>
                <a:lnTo>
                  <a:pt x="20" y="180"/>
                </a:lnTo>
                <a:close/>
                <a:moveTo>
                  <a:pt x="12" y="196"/>
                </a:moveTo>
                <a:cubicBezTo>
                  <a:pt x="52" y="196"/>
                  <a:pt x="52" y="196"/>
                  <a:pt x="52" y="196"/>
                </a:cubicBezTo>
                <a:cubicBezTo>
                  <a:pt x="56" y="196"/>
                  <a:pt x="56" y="196"/>
                  <a:pt x="56" y="196"/>
                </a:cubicBezTo>
                <a:cubicBezTo>
                  <a:pt x="96" y="196"/>
                  <a:pt x="96" y="196"/>
                  <a:pt x="96" y="196"/>
                </a:cubicBezTo>
                <a:cubicBezTo>
                  <a:pt x="100" y="196"/>
                  <a:pt x="100" y="196"/>
                  <a:pt x="100" y="196"/>
                </a:cubicBezTo>
                <a:cubicBezTo>
                  <a:pt x="140" y="196"/>
                  <a:pt x="140" y="196"/>
                  <a:pt x="140" y="196"/>
                </a:cubicBezTo>
                <a:cubicBezTo>
                  <a:pt x="144" y="196"/>
                  <a:pt x="144" y="196"/>
                  <a:pt x="144" y="196"/>
                </a:cubicBezTo>
                <a:cubicBezTo>
                  <a:pt x="184" y="196"/>
                  <a:pt x="184" y="196"/>
                  <a:pt x="184" y="196"/>
                </a:cubicBezTo>
                <a:cubicBezTo>
                  <a:pt x="188" y="196"/>
                  <a:pt x="188" y="196"/>
                  <a:pt x="188" y="196"/>
                </a:cubicBezTo>
                <a:cubicBezTo>
                  <a:pt x="228" y="196"/>
                  <a:pt x="228" y="196"/>
                  <a:pt x="228" y="196"/>
                </a:cubicBezTo>
                <a:cubicBezTo>
                  <a:pt x="228" y="204"/>
                  <a:pt x="228" y="204"/>
                  <a:pt x="228" y="204"/>
                </a:cubicBezTo>
                <a:cubicBezTo>
                  <a:pt x="12" y="204"/>
                  <a:pt x="12" y="204"/>
                  <a:pt x="12" y="204"/>
                </a:cubicBezTo>
                <a:lnTo>
                  <a:pt x="12" y="196"/>
                </a:lnTo>
                <a:close/>
                <a:moveTo>
                  <a:pt x="232" y="220"/>
                </a:moveTo>
                <a:cubicBezTo>
                  <a:pt x="8" y="220"/>
                  <a:pt x="8" y="220"/>
                  <a:pt x="8" y="220"/>
                </a:cubicBezTo>
                <a:cubicBezTo>
                  <a:pt x="8" y="212"/>
                  <a:pt x="8" y="212"/>
                  <a:pt x="8" y="212"/>
                </a:cubicBezTo>
                <a:cubicBezTo>
                  <a:pt x="232" y="212"/>
                  <a:pt x="232" y="212"/>
                  <a:pt x="232" y="212"/>
                </a:cubicBezTo>
                <a:lnTo>
                  <a:pt x="232" y="220"/>
                </a:lnTo>
                <a:close/>
              </a:path>
            </a:pathLst>
          </a:custGeom>
          <a:solidFill>
            <a:srgbClr val="84E0F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Golos UI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E8E0A1F-FE7C-0AD8-1EF0-CABA5FD47436}"/>
              </a:ext>
            </a:extLst>
          </p:cNvPr>
          <p:cNvSpPr/>
          <p:nvPr/>
        </p:nvSpPr>
        <p:spPr>
          <a:xfrm>
            <a:off x="278268" y="3827116"/>
            <a:ext cx="546545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АО «МСП Банк» дочерняя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 </a:t>
            </a: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организация 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/>
            </a:r>
            <a:b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</a:b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rgbClr val="84E0F7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АО «Корпорация «МСП» </a:t>
            </a: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—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 </a:t>
            </a: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института 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/>
            </a:r>
            <a:b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</a:b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развития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 </a:t>
            </a: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в сфере поддержки малого</a:t>
            </a:r>
            <a:endParaRPr kumimoji="0" lang="en-US" sz="2000" b="0" i="0" u="none" strike="noStrike" kern="1200" cap="none" spc="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ea typeface="Golos Text VF" pitchFamily="2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и среднего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 </a:t>
            </a:r>
            <a:r>
              <a:rPr kumimoji="0" lang="ru-RU" sz="2000" b="0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ea typeface="Golos Text VF" pitchFamily="2" charset="0"/>
                <a:cs typeface="Segoe UI" panose="020B0502040204020203" pitchFamily="34" charset="0"/>
              </a:rPr>
              <a:t>предпринимательства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411B2EB4-C1CF-F280-8F10-568B1E94EDD4}"/>
              </a:ext>
            </a:extLst>
          </p:cNvPr>
          <p:cNvGrpSpPr/>
          <p:nvPr/>
        </p:nvGrpSpPr>
        <p:grpSpPr>
          <a:xfrm>
            <a:off x="355908" y="5314516"/>
            <a:ext cx="1196370" cy="1196370"/>
            <a:chOff x="900844" y="3788569"/>
            <a:chExt cx="1196370" cy="1196370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57E4B50-1332-5C6C-6F3E-578BD192C282}"/>
                </a:ext>
              </a:extLst>
            </p:cNvPr>
            <p:cNvSpPr/>
            <p:nvPr/>
          </p:nvSpPr>
          <p:spPr>
            <a:xfrm>
              <a:off x="900844" y="3788569"/>
              <a:ext cx="1196370" cy="119637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id="{5EF75CCB-29F5-6889-BDD0-649E0AA922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029" y="3832071"/>
              <a:ext cx="1196185" cy="1109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D25154-43AD-73EE-B553-4D17701540C9}"/>
              </a:ext>
            </a:extLst>
          </p:cNvPr>
          <p:cNvSpPr/>
          <p:nvPr/>
        </p:nvSpPr>
        <p:spPr>
          <a:xfrm>
            <a:off x="5858189" y="868018"/>
            <a:ext cx="6078385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22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ы господдержки в МСП Банке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87D92CC-9650-E450-947D-9969E2D04011}"/>
              </a:ext>
            </a:extLst>
          </p:cNvPr>
          <p:cNvGrpSpPr/>
          <p:nvPr/>
        </p:nvGrpSpPr>
        <p:grpSpPr>
          <a:xfrm>
            <a:off x="6796342" y="1553883"/>
            <a:ext cx="2013622" cy="677108"/>
            <a:chOff x="1609565" y="2031065"/>
            <a:chExt cx="2609813" cy="877586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7D58168E-206C-29E3-C128-DD4C750CB2CA}"/>
                </a:ext>
              </a:extLst>
            </p:cNvPr>
            <p:cNvSpPr/>
            <p:nvPr/>
          </p:nvSpPr>
          <p:spPr>
            <a:xfrm>
              <a:off x="1631029" y="2039690"/>
              <a:ext cx="2405298" cy="269345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984D3A89-4795-116A-E261-78E57D103EF4}"/>
                </a:ext>
              </a:extLst>
            </p:cNvPr>
            <p:cNvSpPr/>
            <p:nvPr/>
          </p:nvSpPr>
          <p:spPr>
            <a:xfrm>
              <a:off x="1609565" y="2031065"/>
              <a:ext cx="2609813" cy="8775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субсидирование кредитования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Минэкономразвития </a:t>
              </a:r>
              <a:br>
                <a:rPr kumimoji="0" lang="ru-RU" sz="1200" b="1" i="0" u="none" strike="noStrike" kern="1200" cap="none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kumimoji="0" lang="ru-RU" sz="1200" b="1" i="0" u="none" strike="noStrike" kern="1200" cap="none" normalizeH="0" baseline="0" noProof="0" dirty="0">
                  <a:ln>
                    <a:noFill/>
                  </a:ln>
                  <a:effectLst/>
                  <a:uLnTx/>
                  <a:uFillTx/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оссии</a:t>
              </a:r>
            </a:p>
          </p:txBody>
        </p:sp>
      </p:grp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AA061CED-6EAB-E78A-F2EB-969E7BC08D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7895" y="1518264"/>
            <a:ext cx="583253" cy="593668"/>
          </a:xfrm>
          <a:prstGeom prst="rect">
            <a:avLst/>
          </a:prstGeom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6E161EC-DB75-0FEF-714A-9EBFED2FF218}"/>
              </a:ext>
            </a:extLst>
          </p:cNvPr>
          <p:cNvGrpSpPr/>
          <p:nvPr/>
        </p:nvGrpSpPr>
        <p:grpSpPr>
          <a:xfrm>
            <a:off x="5913091" y="2262679"/>
            <a:ext cx="2900354" cy="550228"/>
            <a:chOff x="460921" y="3447782"/>
            <a:chExt cx="3759088" cy="713139"/>
          </a:xfrm>
        </p:grpSpPr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2CE92955-5B50-E9D7-4BA4-CF285E05588D}"/>
                </a:ext>
              </a:extLst>
            </p:cNvPr>
            <p:cNvGrpSpPr/>
            <p:nvPr/>
          </p:nvGrpSpPr>
          <p:grpSpPr>
            <a:xfrm>
              <a:off x="1610196" y="3522676"/>
              <a:ext cx="2609813" cy="638245"/>
              <a:chOff x="8649000" y="2031065"/>
              <a:chExt cx="2609813" cy="638245"/>
            </a:xfrm>
          </p:grpSpPr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4D5A9CFB-3892-B01C-BB3F-C0E1E7B6314D}"/>
                  </a:ext>
                </a:extLst>
              </p:cNvPr>
              <p:cNvSpPr/>
              <p:nvPr/>
            </p:nvSpPr>
            <p:spPr>
              <a:xfrm>
                <a:off x="8665235" y="2039691"/>
                <a:ext cx="2406016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Прямоугольник 20">
                <a:extLst>
                  <a:ext uri="{FF2B5EF4-FFF2-40B4-BE49-F238E27FC236}">
                    <a16:creationId xmlns:a16="http://schemas.microsoft.com/office/drawing/2014/main" id="{26BDAB32-3229-C1C2-62D5-4102902B765A}"/>
                  </a:ext>
                </a:extLst>
              </p:cNvPr>
              <p:cNvSpPr/>
              <p:nvPr/>
            </p:nvSpPr>
            <p:spPr>
              <a:xfrm>
                <a:off x="8649000" y="2031065"/>
                <a:ext cx="2609813" cy="6382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тимулирование кредитован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АО «Корпорация МСП»</a:t>
                </a:r>
              </a:p>
            </p:txBody>
          </p:sp>
        </p:grpSp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id="{33B91A16-6CD0-DB4F-753D-6EBF9504CF30}"/>
                </a:ext>
              </a:extLst>
            </p:cNvPr>
            <p:cNvGrpSpPr/>
            <p:nvPr/>
          </p:nvGrpSpPr>
          <p:grpSpPr>
            <a:xfrm>
              <a:off x="460921" y="3447782"/>
              <a:ext cx="1012576" cy="647700"/>
              <a:chOff x="5636707" y="4995863"/>
              <a:chExt cx="1066800" cy="682384"/>
            </a:xfrm>
          </p:grpSpPr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AE96E9B8-1100-ACDE-A5E6-0B22E04A07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652293" y="5309947"/>
                <a:ext cx="711200" cy="368300"/>
              </a:xfrm>
              <a:prstGeom prst="rect">
                <a:avLst/>
              </a:prstGeom>
            </p:spPr>
          </p:pic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51A5439E-D5EC-67ED-C8B5-53B02AF4FB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36707" y="4995863"/>
                <a:ext cx="1066800" cy="266700"/>
              </a:xfrm>
              <a:prstGeom prst="rect">
                <a:avLst/>
              </a:prstGeom>
            </p:spPr>
          </p:pic>
        </p:grp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954D371B-336E-FBA9-CCD2-812911706821}"/>
              </a:ext>
            </a:extLst>
          </p:cNvPr>
          <p:cNvGrpSpPr/>
          <p:nvPr/>
        </p:nvGrpSpPr>
        <p:grpSpPr>
          <a:xfrm>
            <a:off x="6078189" y="3094842"/>
            <a:ext cx="2870301" cy="630942"/>
            <a:chOff x="601980" y="3343190"/>
            <a:chExt cx="3720136" cy="817750"/>
          </a:xfrm>
        </p:grpSpPr>
        <p:grpSp>
          <p:nvGrpSpPr>
            <p:cNvPr id="72" name="Группа 71">
              <a:extLst>
                <a:ext uri="{FF2B5EF4-FFF2-40B4-BE49-F238E27FC236}">
                  <a16:creationId xmlns:a16="http://schemas.microsoft.com/office/drawing/2014/main" id="{132931D3-0834-227C-60CA-3A07A2BEB829}"/>
                </a:ext>
              </a:extLst>
            </p:cNvPr>
            <p:cNvGrpSpPr/>
            <p:nvPr/>
          </p:nvGrpSpPr>
          <p:grpSpPr>
            <a:xfrm>
              <a:off x="1532327" y="3343190"/>
              <a:ext cx="2789789" cy="817750"/>
              <a:chOff x="3490241" y="3244833"/>
              <a:chExt cx="2789789" cy="817750"/>
            </a:xfrm>
          </p:grpSpPr>
          <p:sp>
            <p:nvSpPr>
              <p:cNvPr id="74" name="Прямоугольник 73">
                <a:extLst>
                  <a:ext uri="{FF2B5EF4-FFF2-40B4-BE49-F238E27FC236}">
                    <a16:creationId xmlns:a16="http://schemas.microsoft.com/office/drawing/2014/main" id="{23C899C9-92D2-E1DF-CDED-CDCFF837CD09}"/>
                  </a:ext>
                </a:extLst>
              </p:cNvPr>
              <p:cNvSpPr/>
              <p:nvPr/>
            </p:nvSpPr>
            <p:spPr>
              <a:xfrm>
                <a:off x="3511705" y="3247915"/>
                <a:ext cx="2406016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75" name="Прямоугольник 74">
                <a:extLst>
                  <a:ext uri="{FF2B5EF4-FFF2-40B4-BE49-F238E27FC236}">
                    <a16:creationId xmlns:a16="http://schemas.microsoft.com/office/drawing/2014/main" id="{422AB9A5-1185-2AA0-5313-52E0430B3C6F}"/>
                  </a:ext>
                </a:extLst>
              </p:cNvPr>
              <p:cNvSpPr/>
              <p:nvPr/>
            </p:nvSpPr>
            <p:spPr>
              <a:xfrm>
                <a:off x="3511705" y="3428941"/>
                <a:ext cx="1275955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6" name="Прямоугольник 75">
                <a:extLst>
                  <a:ext uri="{FF2B5EF4-FFF2-40B4-BE49-F238E27FC236}">
                    <a16:creationId xmlns:a16="http://schemas.microsoft.com/office/drawing/2014/main" id="{EF268FA9-9D64-AD1A-622B-340BF2FC2914}"/>
                  </a:ext>
                </a:extLst>
              </p:cNvPr>
              <p:cNvSpPr/>
              <p:nvPr/>
            </p:nvSpPr>
            <p:spPr>
              <a:xfrm>
                <a:off x="3490241" y="3244833"/>
                <a:ext cx="2789789" cy="8177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сидирование кредит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ъектов МСП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авительства Москвы</a:t>
                </a:r>
              </a:p>
            </p:txBody>
          </p:sp>
        </p:grpSp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id="{6875DF30-7F1B-35A6-123B-BFFEA095B3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1980" y="3343190"/>
              <a:ext cx="558800" cy="660400"/>
            </a:xfrm>
            <a:prstGeom prst="rect">
              <a:avLst/>
            </a:prstGeom>
          </p:spPr>
        </p:pic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59BEA94C-8A52-AA61-D352-FF9ACD5E5A3C}"/>
              </a:ext>
            </a:extLst>
          </p:cNvPr>
          <p:cNvGrpSpPr/>
          <p:nvPr/>
        </p:nvGrpSpPr>
        <p:grpSpPr>
          <a:xfrm>
            <a:off x="9279964" y="3058155"/>
            <a:ext cx="3218159" cy="655050"/>
            <a:chOff x="6081442" y="4466200"/>
            <a:chExt cx="3218159" cy="655050"/>
          </a:xfrm>
        </p:grpSpPr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E03DFF38-F71B-6B2E-C16D-12348DDC8035}"/>
                </a:ext>
              </a:extLst>
            </p:cNvPr>
            <p:cNvGrpSpPr/>
            <p:nvPr/>
          </p:nvGrpSpPr>
          <p:grpSpPr>
            <a:xfrm>
              <a:off x="6796341" y="4490308"/>
              <a:ext cx="2503260" cy="630942"/>
              <a:chOff x="8656064" y="3244833"/>
              <a:chExt cx="3244423" cy="817751"/>
            </a:xfrm>
          </p:grpSpPr>
          <p:sp>
            <p:nvSpPr>
              <p:cNvPr id="80" name="Прямоугольник 79">
                <a:extLst>
                  <a:ext uri="{FF2B5EF4-FFF2-40B4-BE49-F238E27FC236}">
                    <a16:creationId xmlns:a16="http://schemas.microsoft.com/office/drawing/2014/main" id="{7573254B-A752-92BE-A1CC-90B46B1FB00A}"/>
                  </a:ext>
                </a:extLst>
              </p:cNvPr>
              <p:cNvSpPr/>
              <p:nvPr/>
            </p:nvSpPr>
            <p:spPr>
              <a:xfrm>
                <a:off x="8665235" y="3247915"/>
                <a:ext cx="2406016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Прямоугольник 80">
                <a:extLst>
                  <a:ext uri="{FF2B5EF4-FFF2-40B4-BE49-F238E27FC236}">
                    <a16:creationId xmlns:a16="http://schemas.microsoft.com/office/drawing/2014/main" id="{347AE317-1C8F-CB57-7E0F-CB711F11E03B}"/>
                  </a:ext>
                </a:extLst>
              </p:cNvPr>
              <p:cNvSpPr/>
              <p:nvPr/>
            </p:nvSpPr>
            <p:spPr>
              <a:xfrm>
                <a:off x="8665235" y="3428941"/>
                <a:ext cx="1298274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Прямоугольник 81">
                <a:extLst>
                  <a:ext uri="{FF2B5EF4-FFF2-40B4-BE49-F238E27FC236}">
                    <a16:creationId xmlns:a16="http://schemas.microsoft.com/office/drawing/2014/main" id="{267CD80A-225A-DFC5-01D3-7F28DF88187D}"/>
                  </a:ext>
                </a:extLst>
              </p:cNvPr>
              <p:cNvSpPr/>
              <p:nvPr/>
            </p:nvSpPr>
            <p:spPr>
              <a:xfrm>
                <a:off x="8656064" y="3244833"/>
                <a:ext cx="3244423" cy="8177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сидирование кредит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ъектов МСП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Московской области</a:t>
                </a:r>
              </a:p>
            </p:txBody>
          </p:sp>
        </p:grpSp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2B086FF6-005D-8660-9AD0-A15618B938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81442" y="4466200"/>
              <a:ext cx="435357" cy="593668"/>
            </a:xfrm>
            <a:prstGeom prst="rect">
              <a:avLst/>
            </a:prstGeom>
          </p:spPr>
        </p:pic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83DEB713-56A8-9235-4FE1-ABACF1699BDB}"/>
              </a:ext>
            </a:extLst>
          </p:cNvPr>
          <p:cNvGrpSpPr/>
          <p:nvPr/>
        </p:nvGrpSpPr>
        <p:grpSpPr>
          <a:xfrm>
            <a:off x="6039011" y="3934074"/>
            <a:ext cx="2829651" cy="665477"/>
            <a:chOff x="9095984" y="2473163"/>
            <a:chExt cx="2829651" cy="665477"/>
          </a:xfrm>
        </p:grpSpPr>
        <p:grpSp>
          <p:nvGrpSpPr>
            <p:cNvPr id="85" name="Группа 84">
              <a:extLst>
                <a:ext uri="{FF2B5EF4-FFF2-40B4-BE49-F238E27FC236}">
                  <a16:creationId xmlns:a16="http://schemas.microsoft.com/office/drawing/2014/main" id="{8E580A23-8EDB-1DC7-F625-E0E00F1BAA46}"/>
                </a:ext>
              </a:extLst>
            </p:cNvPr>
            <p:cNvGrpSpPr/>
            <p:nvPr/>
          </p:nvGrpSpPr>
          <p:grpSpPr>
            <a:xfrm>
              <a:off x="9869105" y="2507698"/>
              <a:ext cx="2056530" cy="630942"/>
              <a:chOff x="3511705" y="4429126"/>
              <a:chExt cx="2665425" cy="817750"/>
            </a:xfrm>
          </p:grpSpPr>
          <p:sp>
            <p:nvSpPr>
              <p:cNvPr id="87" name="Прямоугольник 86">
                <a:extLst>
                  <a:ext uri="{FF2B5EF4-FFF2-40B4-BE49-F238E27FC236}">
                    <a16:creationId xmlns:a16="http://schemas.microsoft.com/office/drawing/2014/main" id="{AB7F0C95-AD51-10F3-1577-6CAD6063F3CC}"/>
                  </a:ext>
                </a:extLst>
              </p:cNvPr>
              <p:cNvSpPr/>
              <p:nvPr/>
            </p:nvSpPr>
            <p:spPr>
              <a:xfrm>
                <a:off x="3511705" y="4438871"/>
                <a:ext cx="2209480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88" name="Прямоугольник 87">
                <a:extLst>
                  <a:ext uri="{FF2B5EF4-FFF2-40B4-BE49-F238E27FC236}">
                    <a16:creationId xmlns:a16="http://schemas.microsoft.com/office/drawing/2014/main" id="{0BC5CF89-999B-02AA-CB6F-C536C9E8761F}"/>
                  </a:ext>
                </a:extLst>
              </p:cNvPr>
              <p:cNvSpPr/>
              <p:nvPr/>
            </p:nvSpPr>
            <p:spPr>
              <a:xfrm>
                <a:off x="3511705" y="4619897"/>
                <a:ext cx="1207735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9" name="Прямоугольник 88">
                <a:extLst>
                  <a:ext uri="{FF2B5EF4-FFF2-40B4-BE49-F238E27FC236}">
                    <a16:creationId xmlns:a16="http://schemas.microsoft.com/office/drawing/2014/main" id="{29714DA5-8543-670D-AF06-D60E71847DB5}"/>
                  </a:ext>
                </a:extLst>
              </p:cNvPr>
              <p:cNvSpPr/>
              <p:nvPr/>
            </p:nvSpPr>
            <p:spPr>
              <a:xfrm>
                <a:off x="3511705" y="4429126"/>
                <a:ext cx="2665425" cy="8177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ограмма субсидир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кредитован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ельхозпроизводителей</a:t>
                </a:r>
              </a:p>
            </p:txBody>
          </p:sp>
        </p:grpSp>
        <p:pic>
          <p:nvPicPr>
            <p:cNvPr id="86" name="Рисунок 85">
              <a:extLst>
                <a:ext uri="{FF2B5EF4-FFF2-40B4-BE49-F238E27FC236}">
                  <a16:creationId xmlns:a16="http://schemas.microsoft.com/office/drawing/2014/main" id="{8562EC17-F68B-160B-0F33-933D584F3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095984" y="2473163"/>
              <a:ext cx="499738" cy="499738"/>
            </a:xfrm>
            <a:prstGeom prst="rect">
              <a:avLst/>
            </a:prstGeom>
          </p:spPr>
        </p:pic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5205117B-099B-3448-8381-7C259454B275}"/>
              </a:ext>
            </a:extLst>
          </p:cNvPr>
          <p:cNvGrpSpPr/>
          <p:nvPr/>
        </p:nvGrpSpPr>
        <p:grpSpPr>
          <a:xfrm>
            <a:off x="9251375" y="3960968"/>
            <a:ext cx="3244970" cy="633239"/>
            <a:chOff x="6054631" y="5414488"/>
            <a:chExt cx="3244970" cy="633239"/>
          </a:xfrm>
        </p:grpSpPr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63BF8135-342E-04D9-96F3-09C14BEFDE78}"/>
                </a:ext>
              </a:extLst>
            </p:cNvPr>
            <p:cNvGrpSpPr/>
            <p:nvPr/>
          </p:nvGrpSpPr>
          <p:grpSpPr>
            <a:xfrm>
              <a:off x="6796341" y="5416785"/>
              <a:ext cx="2503260" cy="630942"/>
              <a:chOff x="9235720" y="3511349"/>
              <a:chExt cx="3244423" cy="817751"/>
            </a:xfrm>
          </p:grpSpPr>
          <p:sp>
            <p:nvSpPr>
              <p:cNvPr id="93" name="Прямоугольник 92">
                <a:extLst>
                  <a:ext uri="{FF2B5EF4-FFF2-40B4-BE49-F238E27FC236}">
                    <a16:creationId xmlns:a16="http://schemas.microsoft.com/office/drawing/2014/main" id="{2BA2E13A-A575-120C-B466-094816573B5A}"/>
                  </a:ext>
                </a:extLst>
              </p:cNvPr>
              <p:cNvSpPr/>
              <p:nvPr/>
            </p:nvSpPr>
            <p:spPr>
              <a:xfrm>
                <a:off x="9244891" y="3521094"/>
                <a:ext cx="2395234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Прямоугольник 93">
                <a:extLst>
                  <a:ext uri="{FF2B5EF4-FFF2-40B4-BE49-F238E27FC236}">
                    <a16:creationId xmlns:a16="http://schemas.microsoft.com/office/drawing/2014/main" id="{BDD2C597-285F-5625-F350-81C96D41E03F}"/>
                  </a:ext>
                </a:extLst>
              </p:cNvPr>
              <p:cNvSpPr/>
              <p:nvPr/>
            </p:nvSpPr>
            <p:spPr>
              <a:xfrm>
                <a:off x="9244891" y="3702120"/>
                <a:ext cx="1298274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Прямоугольник 94">
                <a:extLst>
                  <a:ext uri="{FF2B5EF4-FFF2-40B4-BE49-F238E27FC236}">
                    <a16:creationId xmlns:a16="http://schemas.microsoft.com/office/drawing/2014/main" id="{2169B54E-C326-7819-0FC9-CE41655B5516}"/>
                  </a:ext>
                </a:extLst>
              </p:cNvPr>
              <p:cNvSpPr/>
              <p:nvPr/>
            </p:nvSpPr>
            <p:spPr>
              <a:xfrm>
                <a:off x="9235720" y="3511349"/>
                <a:ext cx="3244423" cy="8177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сидирование кредит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ъектов МСП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Удмуртской Республики</a:t>
                </a:r>
              </a:p>
            </p:txBody>
          </p:sp>
        </p:grpSp>
        <p:pic>
          <p:nvPicPr>
            <p:cNvPr id="92" name="Рисунок 91">
              <a:extLst>
                <a:ext uri="{FF2B5EF4-FFF2-40B4-BE49-F238E27FC236}">
                  <a16:creationId xmlns:a16="http://schemas.microsoft.com/office/drawing/2014/main" id="{E082866B-76E7-684E-BE7D-039023DC7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54631" y="5414488"/>
              <a:ext cx="538933" cy="548732"/>
            </a:xfrm>
            <a:prstGeom prst="rect">
              <a:avLst/>
            </a:prstGeom>
          </p:spPr>
        </p:pic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8252BAFC-0627-A54C-1DC5-1BCDDD73B5FA}"/>
              </a:ext>
            </a:extLst>
          </p:cNvPr>
          <p:cNvGrpSpPr/>
          <p:nvPr/>
        </p:nvGrpSpPr>
        <p:grpSpPr>
          <a:xfrm>
            <a:off x="5855409" y="4839156"/>
            <a:ext cx="5393604" cy="677108"/>
            <a:chOff x="5837852" y="3335986"/>
            <a:chExt cx="5393604" cy="677108"/>
          </a:xfrm>
        </p:grpSpPr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51274293-1A58-073A-F657-ECF7B159A5A3}"/>
                </a:ext>
              </a:extLst>
            </p:cNvPr>
            <p:cNvSpPr/>
            <p:nvPr/>
          </p:nvSpPr>
          <p:spPr>
            <a:xfrm>
              <a:off x="6796341" y="3340401"/>
              <a:ext cx="2135923" cy="207815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03" name="Группа 102">
              <a:extLst>
                <a:ext uri="{FF2B5EF4-FFF2-40B4-BE49-F238E27FC236}">
                  <a16:creationId xmlns:a16="http://schemas.microsoft.com/office/drawing/2014/main" id="{7C641A30-A60A-98D4-F281-6DF5BCCC264A}"/>
                </a:ext>
              </a:extLst>
            </p:cNvPr>
            <p:cNvGrpSpPr/>
            <p:nvPr/>
          </p:nvGrpSpPr>
          <p:grpSpPr>
            <a:xfrm>
              <a:off x="5837852" y="3335986"/>
              <a:ext cx="5393604" cy="677108"/>
              <a:chOff x="5837852" y="3335986"/>
              <a:chExt cx="5393604" cy="677108"/>
            </a:xfrm>
          </p:grpSpPr>
          <p:sp>
            <p:nvSpPr>
              <p:cNvPr id="104" name="Прямоугольник 103">
                <a:extLst>
                  <a:ext uri="{FF2B5EF4-FFF2-40B4-BE49-F238E27FC236}">
                    <a16:creationId xmlns:a16="http://schemas.microsoft.com/office/drawing/2014/main" id="{8346F883-29CB-FD03-4E59-80AC31019A5F}"/>
                  </a:ext>
                </a:extLst>
              </p:cNvPr>
              <p:cNvSpPr/>
              <p:nvPr/>
            </p:nvSpPr>
            <p:spPr>
              <a:xfrm>
                <a:off x="6796342" y="3335986"/>
                <a:ext cx="4435114" cy="67710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  <a:defRPr/>
                </a:pPr>
                <a:r>
                  <a:rPr lang="ru-RU" sz="9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ограмма льготного кредитования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b="1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высокотехнологичных, инновационных </a:t>
                </a:r>
                <a:br>
                  <a:rPr lang="ru-RU" sz="1200" b="1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lang="ru-RU" sz="1200" b="1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ъектов МСП</a:t>
                </a:r>
              </a:p>
            </p:txBody>
          </p:sp>
          <p:grpSp>
            <p:nvGrpSpPr>
              <p:cNvPr id="105" name="Группа 104">
                <a:extLst>
                  <a:ext uri="{FF2B5EF4-FFF2-40B4-BE49-F238E27FC236}">
                    <a16:creationId xmlns:a16="http://schemas.microsoft.com/office/drawing/2014/main" id="{F422A16B-1A2E-9069-0161-4FE243292127}"/>
                  </a:ext>
                </a:extLst>
              </p:cNvPr>
              <p:cNvGrpSpPr/>
              <p:nvPr/>
            </p:nvGrpSpPr>
            <p:grpSpPr>
              <a:xfrm>
                <a:off x="5837852" y="3548216"/>
                <a:ext cx="839162" cy="239725"/>
                <a:chOff x="3654080" y="5836026"/>
                <a:chExt cx="933590" cy="266700"/>
              </a:xfrm>
            </p:grpSpPr>
            <p:pic>
              <p:nvPicPr>
                <p:cNvPr id="106" name="Рисунок 105">
                  <a:extLst>
                    <a:ext uri="{FF2B5EF4-FFF2-40B4-BE49-F238E27FC236}">
                      <a16:creationId xmlns:a16="http://schemas.microsoft.com/office/drawing/2014/main" id="{81E18BD4-9255-3A59-F559-E04179DF4E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244770" y="5836026"/>
                  <a:ext cx="342900" cy="266700"/>
                </a:xfrm>
                <a:prstGeom prst="rect">
                  <a:avLst/>
                </a:prstGeom>
              </p:spPr>
            </p:pic>
            <p:pic>
              <p:nvPicPr>
                <p:cNvPr id="107" name="Рисунок 106">
                  <a:extLst>
                    <a:ext uri="{FF2B5EF4-FFF2-40B4-BE49-F238E27FC236}">
                      <a16:creationId xmlns:a16="http://schemas.microsoft.com/office/drawing/2014/main" id="{768D7078-BCCD-3893-0D27-3F178760D9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654080" y="5918576"/>
                  <a:ext cx="571500" cy="1016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548C8ADF-7B1C-F561-91BF-43B37A835A28}"/>
              </a:ext>
            </a:extLst>
          </p:cNvPr>
          <p:cNvGrpSpPr/>
          <p:nvPr/>
        </p:nvGrpSpPr>
        <p:grpSpPr>
          <a:xfrm>
            <a:off x="6093406" y="5744145"/>
            <a:ext cx="2763929" cy="816047"/>
            <a:chOff x="9161706" y="3316409"/>
            <a:chExt cx="2763929" cy="816047"/>
          </a:xfrm>
        </p:grpSpPr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id="{AA8F680B-19D4-C723-7A94-C9A7BCB13D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161706" y="3316409"/>
              <a:ext cx="415385" cy="566435"/>
            </a:xfrm>
            <a:prstGeom prst="rect">
              <a:avLst/>
            </a:prstGeom>
          </p:spPr>
        </p:pic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id="{48239D8B-FA04-412F-459E-EE083AB8CC93}"/>
                </a:ext>
              </a:extLst>
            </p:cNvPr>
            <p:cNvGrpSpPr/>
            <p:nvPr/>
          </p:nvGrpSpPr>
          <p:grpSpPr>
            <a:xfrm>
              <a:off x="9869104" y="3316848"/>
              <a:ext cx="2056531" cy="815608"/>
              <a:chOff x="3511704" y="4429126"/>
              <a:chExt cx="2665426" cy="1057092"/>
            </a:xfrm>
          </p:grpSpPr>
          <p:sp>
            <p:nvSpPr>
              <p:cNvPr id="111" name="Прямоугольник 110">
                <a:extLst>
                  <a:ext uri="{FF2B5EF4-FFF2-40B4-BE49-F238E27FC236}">
                    <a16:creationId xmlns:a16="http://schemas.microsoft.com/office/drawing/2014/main" id="{8F7EEBDB-E36B-843B-CC48-1A7912315A78}"/>
                  </a:ext>
                </a:extLst>
              </p:cNvPr>
              <p:cNvSpPr/>
              <p:nvPr/>
            </p:nvSpPr>
            <p:spPr>
              <a:xfrm>
                <a:off x="3511704" y="4438871"/>
                <a:ext cx="2430537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2" name="Прямоугольник 111">
                <a:extLst>
                  <a:ext uri="{FF2B5EF4-FFF2-40B4-BE49-F238E27FC236}">
                    <a16:creationId xmlns:a16="http://schemas.microsoft.com/office/drawing/2014/main" id="{F07122BC-CC7F-7640-DD96-1E639E8CA1F4}"/>
                  </a:ext>
                </a:extLst>
              </p:cNvPr>
              <p:cNvSpPr/>
              <p:nvPr/>
            </p:nvSpPr>
            <p:spPr>
              <a:xfrm>
                <a:off x="3511706" y="4619897"/>
                <a:ext cx="1107846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3" name="Прямоугольник 112">
                <a:extLst>
                  <a:ext uri="{FF2B5EF4-FFF2-40B4-BE49-F238E27FC236}">
                    <a16:creationId xmlns:a16="http://schemas.microsoft.com/office/drawing/2014/main" id="{C2C60217-E1A5-5389-259B-E7BC48312AB5}"/>
                  </a:ext>
                </a:extLst>
              </p:cNvPr>
              <p:cNvSpPr/>
              <p:nvPr/>
            </p:nvSpPr>
            <p:spPr>
              <a:xfrm>
                <a:off x="3511705" y="4429126"/>
                <a:ext cx="2665425" cy="105709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сидирование кредит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едприяти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ограмма льготной</a:t>
                </a:r>
                <a:b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омышленной ипотеки</a:t>
                </a:r>
              </a:p>
            </p:txBody>
          </p:sp>
        </p:grp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91530AEF-A336-1EE2-8C3C-299CF36E9A03}"/>
              </a:ext>
            </a:extLst>
          </p:cNvPr>
          <p:cNvGrpSpPr/>
          <p:nvPr/>
        </p:nvGrpSpPr>
        <p:grpSpPr>
          <a:xfrm>
            <a:off x="9305267" y="5756795"/>
            <a:ext cx="3176834" cy="815608"/>
            <a:chOff x="6122767" y="6225933"/>
            <a:chExt cx="3176834" cy="815608"/>
          </a:xfrm>
        </p:grpSpPr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id="{C6BE044E-8F53-6728-68D2-FE89B505DE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22767" y="6286535"/>
              <a:ext cx="431147" cy="587927"/>
            </a:xfrm>
            <a:prstGeom prst="rect">
              <a:avLst/>
            </a:prstGeom>
          </p:spPr>
        </p:pic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8C930105-46CF-2FBD-59AD-138066F75DBA}"/>
                </a:ext>
              </a:extLst>
            </p:cNvPr>
            <p:cNvGrpSpPr/>
            <p:nvPr/>
          </p:nvGrpSpPr>
          <p:grpSpPr>
            <a:xfrm>
              <a:off x="6796341" y="6225933"/>
              <a:ext cx="2503260" cy="815608"/>
              <a:chOff x="9235720" y="3511349"/>
              <a:chExt cx="3244423" cy="1057093"/>
            </a:xfrm>
          </p:grpSpPr>
          <p:sp>
            <p:nvSpPr>
              <p:cNvPr id="117" name="Прямоугольник 116">
                <a:extLst>
                  <a:ext uri="{FF2B5EF4-FFF2-40B4-BE49-F238E27FC236}">
                    <a16:creationId xmlns:a16="http://schemas.microsoft.com/office/drawing/2014/main" id="{31300317-06B5-DD6B-D3D5-77CFF53B8523}"/>
                  </a:ext>
                </a:extLst>
              </p:cNvPr>
              <p:cNvSpPr/>
              <p:nvPr/>
            </p:nvSpPr>
            <p:spPr>
              <a:xfrm>
                <a:off x="9244891" y="3521094"/>
                <a:ext cx="2395234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8" name="Прямоугольник 117">
                <a:extLst>
                  <a:ext uri="{FF2B5EF4-FFF2-40B4-BE49-F238E27FC236}">
                    <a16:creationId xmlns:a16="http://schemas.microsoft.com/office/drawing/2014/main" id="{6FEE15C4-E2B7-FFDB-6953-246F86428073}"/>
                  </a:ext>
                </a:extLst>
              </p:cNvPr>
              <p:cNvSpPr/>
              <p:nvPr/>
            </p:nvSpPr>
            <p:spPr>
              <a:xfrm>
                <a:off x="9244891" y="3702120"/>
                <a:ext cx="1152956" cy="26934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 118">
                <a:extLst>
                  <a:ext uri="{FF2B5EF4-FFF2-40B4-BE49-F238E27FC236}">
                    <a16:creationId xmlns:a16="http://schemas.microsoft.com/office/drawing/2014/main" id="{6021BC3F-7BBF-C206-6A2E-10B2AE0B05D4}"/>
                  </a:ext>
                </a:extLst>
              </p:cNvPr>
              <p:cNvSpPr/>
              <p:nvPr/>
            </p:nvSpPr>
            <p:spPr>
              <a:xfrm>
                <a:off x="9235720" y="3511349"/>
                <a:ext cx="3244423" cy="10570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убсидирование кредитования</a:t>
                </a:r>
                <a:b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900" b="0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предприятий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Строительство </a:t>
                </a:r>
                <a:b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</a:b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гостиничных</a:t>
                </a:r>
                <a:r>
                  <a:rPr lang="ru-RU" sz="1200" b="1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 </a:t>
                </a:r>
                <a:r>
                  <a:rPr kumimoji="0" lang="ru-RU" sz="1200" b="1" i="0" u="none" strike="noStrike" kern="1200" cap="none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объектов</a:t>
                </a:r>
              </a:p>
            </p:txBody>
          </p:sp>
        </p:grpSp>
      </p:grp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D4889B59-D9C1-D4F4-839E-0E99282603AE}"/>
              </a:ext>
            </a:extLst>
          </p:cNvPr>
          <p:cNvCxnSpPr>
            <a:cxnSpLocks/>
          </p:cNvCxnSpPr>
          <p:nvPr/>
        </p:nvCxnSpPr>
        <p:spPr>
          <a:xfrm>
            <a:off x="5855409" y="2940213"/>
            <a:ext cx="6030442" cy="0"/>
          </a:xfrm>
          <a:prstGeom prst="line">
            <a:avLst/>
          </a:prstGeom>
          <a:ln w="1270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CAC65BB6-5240-107D-B9F3-8536F85608EB}"/>
              </a:ext>
            </a:extLst>
          </p:cNvPr>
          <p:cNvCxnSpPr>
            <a:cxnSpLocks/>
          </p:cNvCxnSpPr>
          <p:nvPr/>
        </p:nvCxnSpPr>
        <p:spPr>
          <a:xfrm>
            <a:off x="5855409" y="3791937"/>
            <a:ext cx="6030442" cy="0"/>
          </a:xfrm>
          <a:prstGeom prst="line">
            <a:avLst/>
          </a:prstGeom>
          <a:ln w="1270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2265ABE8-F1AF-09E0-1D7B-6654CCF0CAB6}"/>
              </a:ext>
            </a:extLst>
          </p:cNvPr>
          <p:cNvCxnSpPr>
            <a:cxnSpLocks/>
          </p:cNvCxnSpPr>
          <p:nvPr/>
        </p:nvCxnSpPr>
        <p:spPr>
          <a:xfrm>
            <a:off x="5855409" y="4702381"/>
            <a:ext cx="6030442" cy="0"/>
          </a:xfrm>
          <a:prstGeom prst="line">
            <a:avLst/>
          </a:prstGeom>
          <a:ln w="1270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7A94AF0C-1F47-0106-34BF-5534AB403E3F}"/>
              </a:ext>
            </a:extLst>
          </p:cNvPr>
          <p:cNvCxnSpPr>
            <a:cxnSpLocks/>
          </p:cNvCxnSpPr>
          <p:nvPr/>
        </p:nvCxnSpPr>
        <p:spPr>
          <a:xfrm>
            <a:off x="5855409" y="5614139"/>
            <a:ext cx="6030442" cy="0"/>
          </a:xfrm>
          <a:prstGeom prst="line">
            <a:avLst/>
          </a:prstGeom>
          <a:ln w="1270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Slide Number Placeholder 24">
            <a:extLst>
              <a:ext uri="{FF2B5EF4-FFF2-40B4-BE49-F238E27FC236}">
                <a16:creationId xmlns:a16="http://schemas.microsoft.com/office/drawing/2014/main" id="{35F442B5-2388-1C91-7F55-607B5A046A53}"/>
              </a:ext>
            </a:extLst>
          </p:cNvPr>
          <p:cNvSpPr txBox="1">
            <a:spLocks/>
          </p:cNvSpPr>
          <p:nvPr/>
        </p:nvSpPr>
        <p:spPr>
          <a:xfrm>
            <a:off x="11333981" y="6376228"/>
            <a:ext cx="10038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222222"/>
                </a:solidFill>
                <a:ea typeface="Open Sans SemiBold" charset="0"/>
                <a:cs typeface="Golos UI" panose="020B0504020202020204" pitchFamily="34" charset="-52"/>
              </a:rPr>
              <a:t>2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ea typeface="Open Sans SemiBold" charset="0"/>
              <a:cs typeface="Golos UI" panose="020B0504020202020204" pitchFamily="34" charset="-52"/>
            </a:endParaRPr>
          </a:p>
        </p:txBody>
      </p: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D609119B-79A8-1C3C-0498-A672803FF712}"/>
              </a:ext>
            </a:extLst>
          </p:cNvPr>
          <p:cNvGrpSpPr/>
          <p:nvPr/>
        </p:nvGrpSpPr>
        <p:grpSpPr>
          <a:xfrm>
            <a:off x="7922596" y="345197"/>
            <a:ext cx="2120767" cy="385214"/>
            <a:chOff x="9808833" y="303241"/>
            <a:chExt cx="2036610" cy="369928"/>
          </a:xfrm>
        </p:grpSpPr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5CFCCDE-4DB5-726E-B1F4-0FBACABAF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8266" y="303241"/>
              <a:ext cx="707177" cy="369928"/>
            </a:xfrm>
            <a:custGeom>
              <a:avLst/>
              <a:gdLst>
                <a:gd name="T0" fmla="*/ 1659 w 7571"/>
                <a:gd name="T1" fmla="*/ 1021 h 3962"/>
                <a:gd name="T2" fmla="*/ 1348 w 7571"/>
                <a:gd name="T3" fmla="*/ 1288 h 3962"/>
                <a:gd name="T4" fmla="*/ 1527 w 7571"/>
                <a:gd name="T5" fmla="*/ 1677 h 3962"/>
                <a:gd name="T6" fmla="*/ 1925 w 7571"/>
                <a:gd name="T7" fmla="*/ 1557 h 3962"/>
                <a:gd name="T8" fmla="*/ 1889 w 7571"/>
                <a:gd name="T9" fmla="*/ 1116 h 3962"/>
                <a:gd name="T10" fmla="*/ 1636 w 7571"/>
                <a:gd name="T11" fmla="*/ 1583 h 3962"/>
                <a:gd name="T12" fmla="*/ 1475 w 7571"/>
                <a:gd name="T13" fmla="*/ 1361 h 3962"/>
                <a:gd name="T14" fmla="*/ 1614 w 7571"/>
                <a:gd name="T15" fmla="*/ 1143 h 3962"/>
                <a:gd name="T16" fmla="*/ 1830 w 7571"/>
                <a:gd name="T17" fmla="*/ 1270 h 3962"/>
                <a:gd name="T18" fmla="*/ 2688 w 7571"/>
                <a:gd name="T19" fmla="*/ 1361 h 3962"/>
                <a:gd name="T20" fmla="*/ 2459 w 7571"/>
                <a:gd name="T21" fmla="*/ 1027 h 3962"/>
                <a:gd name="T22" fmla="*/ 2229 w 7571"/>
                <a:gd name="T23" fmla="*/ 1648 h 3962"/>
                <a:gd name="T24" fmla="*/ 2610 w 7571"/>
                <a:gd name="T25" fmla="*/ 1604 h 3962"/>
                <a:gd name="T26" fmla="*/ 2289 w 7571"/>
                <a:gd name="T27" fmla="*/ 1567 h 3962"/>
                <a:gd name="T28" fmla="*/ 2209 w 7571"/>
                <a:gd name="T29" fmla="*/ 1298 h 3962"/>
                <a:gd name="T30" fmla="*/ 2390 w 7571"/>
                <a:gd name="T31" fmla="*/ 1135 h 3962"/>
                <a:gd name="T32" fmla="*/ 2555 w 7571"/>
                <a:gd name="T33" fmla="*/ 1330 h 3962"/>
                <a:gd name="T34" fmla="*/ 3227 w 7571"/>
                <a:gd name="T35" fmla="*/ 1684 h 3962"/>
                <a:gd name="T36" fmla="*/ 3656 w 7571"/>
                <a:gd name="T37" fmla="*/ 1045 h 3962"/>
                <a:gd name="T38" fmla="*/ 3475 w 7571"/>
                <a:gd name="T39" fmla="*/ 1432 h 3962"/>
                <a:gd name="T40" fmla="*/ 3785 w 7571"/>
                <a:gd name="T41" fmla="*/ 1701 h 3962"/>
                <a:gd name="T42" fmla="*/ 4097 w 7571"/>
                <a:gd name="T43" fmla="*/ 1433 h 3962"/>
                <a:gd name="T44" fmla="*/ 3924 w 7571"/>
                <a:gd name="T45" fmla="*/ 1522 h 3962"/>
                <a:gd name="T46" fmla="*/ 3698 w 7571"/>
                <a:gd name="T47" fmla="*/ 1565 h 3962"/>
                <a:gd name="T48" fmla="*/ 3614 w 7571"/>
                <a:gd name="T49" fmla="*/ 1271 h 3962"/>
                <a:gd name="T50" fmla="*/ 3839 w 7571"/>
                <a:gd name="T51" fmla="*/ 1144 h 3962"/>
                <a:gd name="T52" fmla="*/ 3967 w 7571"/>
                <a:gd name="T53" fmla="*/ 1408 h 3962"/>
                <a:gd name="T54" fmla="*/ 4401 w 7571"/>
                <a:gd name="T55" fmla="*/ 1046 h 3962"/>
                <a:gd name="T56" fmla="*/ 4525 w 7571"/>
                <a:gd name="T57" fmla="*/ 1701 h 3962"/>
                <a:gd name="T58" fmla="*/ 4810 w 7571"/>
                <a:gd name="T59" fmla="*/ 1430 h 3962"/>
                <a:gd name="T60" fmla="*/ 4664 w 7571"/>
                <a:gd name="T61" fmla="*/ 1476 h 3962"/>
                <a:gd name="T62" fmla="*/ 4439 w 7571"/>
                <a:gd name="T63" fmla="*/ 1578 h 3962"/>
                <a:gd name="T64" fmla="*/ 4333 w 7571"/>
                <a:gd name="T65" fmla="*/ 1329 h 3962"/>
                <a:gd name="T66" fmla="*/ 4488 w 7571"/>
                <a:gd name="T67" fmla="*/ 1135 h 3962"/>
                <a:gd name="T68" fmla="*/ 4678 w 7571"/>
                <a:gd name="T69" fmla="*/ 1300 h 3962"/>
                <a:gd name="T70" fmla="*/ 5343 w 7571"/>
                <a:gd name="T71" fmla="*/ 1050 h 3962"/>
                <a:gd name="T72" fmla="*/ 4947 w 7571"/>
                <a:gd name="T73" fmla="*/ 1144 h 3962"/>
                <a:gd name="T74" fmla="*/ 5210 w 7571"/>
                <a:gd name="T75" fmla="*/ 1137 h 3962"/>
                <a:gd name="T76" fmla="*/ 5205 w 7571"/>
                <a:gd name="T77" fmla="*/ 1286 h 3962"/>
                <a:gd name="T78" fmla="*/ 4906 w 7571"/>
                <a:gd name="T79" fmla="*/ 1452 h 3962"/>
                <a:gd name="T80" fmla="*/ 4997 w 7571"/>
                <a:gd name="T81" fmla="*/ 1676 h 3962"/>
                <a:gd name="T82" fmla="*/ 5322 w 7571"/>
                <a:gd name="T83" fmla="*/ 1623 h 3962"/>
                <a:gd name="T84" fmla="*/ 5286 w 7571"/>
                <a:gd name="T85" fmla="*/ 1540 h 3962"/>
                <a:gd name="T86" fmla="*/ 5036 w 7571"/>
                <a:gd name="T87" fmla="*/ 1553 h 3962"/>
                <a:gd name="T88" fmla="*/ 5202 w 7571"/>
                <a:gd name="T89" fmla="*/ 1392 h 3962"/>
                <a:gd name="T90" fmla="*/ 5603 w 7571"/>
                <a:gd name="T91" fmla="*/ 1039 h 3962"/>
                <a:gd name="T92" fmla="*/ 7290 w 7571"/>
                <a:gd name="T93" fmla="*/ 1040 h 3962"/>
                <a:gd name="T94" fmla="*/ 7038 w 7571"/>
                <a:gd name="T95" fmla="*/ 1231 h 3962"/>
                <a:gd name="T96" fmla="*/ 7306 w 7571"/>
                <a:gd name="T97" fmla="*/ 1460 h 3962"/>
                <a:gd name="T98" fmla="*/ 7200 w 7571"/>
                <a:gd name="T99" fmla="*/ 1330 h 3962"/>
                <a:gd name="T100" fmla="*/ 7230 w 7571"/>
                <a:gd name="T101" fmla="*/ 1151 h 3962"/>
                <a:gd name="T102" fmla="*/ 1375 w 7571"/>
                <a:gd name="T103" fmla="*/ 2830 h 3962"/>
                <a:gd name="T104" fmla="*/ 2174 w 7571"/>
                <a:gd name="T105" fmla="*/ 2281 h 3962"/>
                <a:gd name="T106" fmla="*/ 2299 w 7571"/>
                <a:gd name="T107" fmla="*/ 2251 h 3962"/>
                <a:gd name="T108" fmla="*/ 1975 w 7571"/>
                <a:gd name="T109" fmla="*/ 2072 h 3962"/>
                <a:gd name="T110" fmla="*/ 1628 w 7571"/>
                <a:gd name="T111" fmla="*/ 2268 h 3962"/>
                <a:gd name="T112" fmla="*/ 1765 w 7571"/>
                <a:gd name="T113" fmla="*/ 2854 h 3962"/>
                <a:gd name="T114" fmla="*/ 2202 w 7571"/>
                <a:gd name="T115" fmla="*/ 2969 h 3962"/>
                <a:gd name="T116" fmla="*/ 2262 w 7571"/>
                <a:gd name="T117" fmla="*/ 2712 h 3962"/>
                <a:gd name="T118" fmla="*/ 1943 w 7571"/>
                <a:gd name="T119" fmla="*/ 2836 h 3962"/>
                <a:gd name="T120" fmla="*/ 1732 w 7571"/>
                <a:gd name="T121" fmla="*/ 2471 h 3962"/>
                <a:gd name="T122" fmla="*/ 3192 w 7571"/>
                <a:gd name="T123" fmla="*/ 2331 h 3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71" h="3962">
                  <a:moveTo>
                    <a:pt x="764" y="1273"/>
                  </a:moveTo>
                  <a:lnTo>
                    <a:pt x="1147" y="1684"/>
                  </a:lnTo>
                  <a:lnTo>
                    <a:pt x="1307" y="1684"/>
                  </a:lnTo>
                  <a:lnTo>
                    <a:pt x="898" y="1243"/>
                  </a:lnTo>
                  <a:lnTo>
                    <a:pt x="1279" y="824"/>
                  </a:lnTo>
                  <a:lnTo>
                    <a:pt x="1123" y="824"/>
                  </a:lnTo>
                  <a:lnTo>
                    <a:pt x="764" y="1225"/>
                  </a:lnTo>
                  <a:lnTo>
                    <a:pt x="764" y="824"/>
                  </a:lnTo>
                  <a:lnTo>
                    <a:pt x="639" y="824"/>
                  </a:lnTo>
                  <a:lnTo>
                    <a:pt x="639" y="1684"/>
                  </a:lnTo>
                  <a:lnTo>
                    <a:pt x="764" y="1684"/>
                  </a:lnTo>
                  <a:lnTo>
                    <a:pt x="764" y="1273"/>
                  </a:lnTo>
                  <a:close/>
                  <a:moveTo>
                    <a:pt x="1826" y="1064"/>
                  </a:moveTo>
                  <a:lnTo>
                    <a:pt x="1808" y="1055"/>
                  </a:lnTo>
                  <a:lnTo>
                    <a:pt x="1789" y="1046"/>
                  </a:lnTo>
                  <a:lnTo>
                    <a:pt x="1770" y="1039"/>
                  </a:lnTo>
                  <a:lnTo>
                    <a:pt x="1748" y="1032"/>
                  </a:lnTo>
                  <a:lnTo>
                    <a:pt x="1727" y="1027"/>
                  </a:lnTo>
                  <a:lnTo>
                    <a:pt x="1704" y="1024"/>
                  </a:lnTo>
                  <a:lnTo>
                    <a:pt x="1682" y="1021"/>
                  </a:lnTo>
                  <a:lnTo>
                    <a:pt x="1659" y="1021"/>
                  </a:lnTo>
                  <a:lnTo>
                    <a:pt x="1635" y="1021"/>
                  </a:lnTo>
                  <a:lnTo>
                    <a:pt x="1612" y="1024"/>
                  </a:lnTo>
                  <a:lnTo>
                    <a:pt x="1590" y="1027"/>
                  </a:lnTo>
                  <a:lnTo>
                    <a:pt x="1569" y="1032"/>
                  </a:lnTo>
                  <a:lnTo>
                    <a:pt x="1549" y="1037"/>
                  </a:lnTo>
                  <a:lnTo>
                    <a:pt x="1530" y="1045"/>
                  </a:lnTo>
                  <a:lnTo>
                    <a:pt x="1510" y="1053"/>
                  </a:lnTo>
                  <a:lnTo>
                    <a:pt x="1492" y="1064"/>
                  </a:lnTo>
                  <a:lnTo>
                    <a:pt x="1475" y="1075"/>
                  </a:lnTo>
                  <a:lnTo>
                    <a:pt x="1459" y="1088"/>
                  </a:lnTo>
                  <a:lnTo>
                    <a:pt x="1443" y="1100"/>
                  </a:lnTo>
                  <a:lnTo>
                    <a:pt x="1429" y="1115"/>
                  </a:lnTo>
                  <a:lnTo>
                    <a:pt x="1415" y="1130"/>
                  </a:lnTo>
                  <a:lnTo>
                    <a:pt x="1404" y="1147"/>
                  </a:lnTo>
                  <a:lnTo>
                    <a:pt x="1392" y="1164"/>
                  </a:lnTo>
                  <a:lnTo>
                    <a:pt x="1382" y="1184"/>
                  </a:lnTo>
                  <a:lnTo>
                    <a:pt x="1373" y="1203"/>
                  </a:lnTo>
                  <a:lnTo>
                    <a:pt x="1364" y="1223"/>
                  </a:lnTo>
                  <a:lnTo>
                    <a:pt x="1358" y="1245"/>
                  </a:lnTo>
                  <a:lnTo>
                    <a:pt x="1352" y="1266"/>
                  </a:lnTo>
                  <a:lnTo>
                    <a:pt x="1348" y="1288"/>
                  </a:lnTo>
                  <a:lnTo>
                    <a:pt x="1345" y="1312"/>
                  </a:lnTo>
                  <a:lnTo>
                    <a:pt x="1343" y="1336"/>
                  </a:lnTo>
                  <a:lnTo>
                    <a:pt x="1343" y="1361"/>
                  </a:lnTo>
                  <a:lnTo>
                    <a:pt x="1343" y="1385"/>
                  </a:lnTo>
                  <a:lnTo>
                    <a:pt x="1345" y="1410"/>
                  </a:lnTo>
                  <a:lnTo>
                    <a:pt x="1348" y="1432"/>
                  </a:lnTo>
                  <a:lnTo>
                    <a:pt x="1352" y="1455"/>
                  </a:lnTo>
                  <a:lnTo>
                    <a:pt x="1358" y="1477"/>
                  </a:lnTo>
                  <a:lnTo>
                    <a:pt x="1364" y="1499"/>
                  </a:lnTo>
                  <a:lnTo>
                    <a:pt x="1372" y="1519"/>
                  </a:lnTo>
                  <a:lnTo>
                    <a:pt x="1381" y="1538"/>
                  </a:lnTo>
                  <a:lnTo>
                    <a:pt x="1391" y="1556"/>
                  </a:lnTo>
                  <a:lnTo>
                    <a:pt x="1403" y="1574"/>
                  </a:lnTo>
                  <a:lnTo>
                    <a:pt x="1414" y="1590"/>
                  </a:lnTo>
                  <a:lnTo>
                    <a:pt x="1427" y="1606"/>
                  </a:lnTo>
                  <a:lnTo>
                    <a:pt x="1442" y="1621"/>
                  </a:lnTo>
                  <a:lnTo>
                    <a:pt x="1457" y="1634"/>
                  </a:lnTo>
                  <a:lnTo>
                    <a:pt x="1473" y="1647"/>
                  </a:lnTo>
                  <a:lnTo>
                    <a:pt x="1490" y="1659"/>
                  </a:lnTo>
                  <a:lnTo>
                    <a:pt x="1508" y="1668"/>
                  </a:lnTo>
                  <a:lnTo>
                    <a:pt x="1527" y="1677"/>
                  </a:lnTo>
                  <a:lnTo>
                    <a:pt x="1548" y="1684"/>
                  </a:lnTo>
                  <a:lnTo>
                    <a:pt x="1568" y="1691"/>
                  </a:lnTo>
                  <a:lnTo>
                    <a:pt x="1589" y="1696"/>
                  </a:lnTo>
                  <a:lnTo>
                    <a:pt x="1612" y="1699"/>
                  </a:lnTo>
                  <a:lnTo>
                    <a:pt x="1634" y="1701"/>
                  </a:lnTo>
                  <a:lnTo>
                    <a:pt x="1659" y="1701"/>
                  </a:lnTo>
                  <a:lnTo>
                    <a:pt x="1682" y="1701"/>
                  </a:lnTo>
                  <a:lnTo>
                    <a:pt x="1704" y="1699"/>
                  </a:lnTo>
                  <a:lnTo>
                    <a:pt x="1727" y="1696"/>
                  </a:lnTo>
                  <a:lnTo>
                    <a:pt x="1748" y="1691"/>
                  </a:lnTo>
                  <a:lnTo>
                    <a:pt x="1768" y="1685"/>
                  </a:lnTo>
                  <a:lnTo>
                    <a:pt x="1789" y="1678"/>
                  </a:lnTo>
                  <a:lnTo>
                    <a:pt x="1807" y="1668"/>
                  </a:lnTo>
                  <a:lnTo>
                    <a:pt x="1825" y="1659"/>
                  </a:lnTo>
                  <a:lnTo>
                    <a:pt x="1842" y="1647"/>
                  </a:lnTo>
                  <a:lnTo>
                    <a:pt x="1859" y="1635"/>
                  </a:lnTo>
                  <a:lnTo>
                    <a:pt x="1874" y="1621"/>
                  </a:lnTo>
                  <a:lnTo>
                    <a:pt x="1888" y="1607"/>
                  </a:lnTo>
                  <a:lnTo>
                    <a:pt x="1902" y="1591"/>
                  </a:lnTo>
                  <a:lnTo>
                    <a:pt x="1914" y="1574"/>
                  </a:lnTo>
                  <a:lnTo>
                    <a:pt x="1925" y="1557"/>
                  </a:lnTo>
                  <a:lnTo>
                    <a:pt x="1935" y="1538"/>
                  </a:lnTo>
                  <a:lnTo>
                    <a:pt x="1944" y="1519"/>
                  </a:lnTo>
                  <a:lnTo>
                    <a:pt x="1953" y="1499"/>
                  </a:lnTo>
                  <a:lnTo>
                    <a:pt x="1959" y="1477"/>
                  </a:lnTo>
                  <a:lnTo>
                    <a:pt x="1965" y="1456"/>
                  </a:lnTo>
                  <a:lnTo>
                    <a:pt x="1969" y="1433"/>
                  </a:lnTo>
                  <a:lnTo>
                    <a:pt x="1972" y="1410"/>
                  </a:lnTo>
                  <a:lnTo>
                    <a:pt x="1974" y="1385"/>
                  </a:lnTo>
                  <a:lnTo>
                    <a:pt x="1974" y="1361"/>
                  </a:lnTo>
                  <a:lnTo>
                    <a:pt x="1974" y="1336"/>
                  </a:lnTo>
                  <a:lnTo>
                    <a:pt x="1972" y="1313"/>
                  </a:lnTo>
                  <a:lnTo>
                    <a:pt x="1969" y="1289"/>
                  </a:lnTo>
                  <a:lnTo>
                    <a:pt x="1965" y="1267"/>
                  </a:lnTo>
                  <a:lnTo>
                    <a:pt x="1959" y="1246"/>
                  </a:lnTo>
                  <a:lnTo>
                    <a:pt x="1953" y="1224"/>
                  </a:lnTo>
                  <a:lnTo>
                    <a:pt x="1944" y="1204"/>
                  </a:lnTo>
                  <a:lnTo>
                    <a:pt x="1936" y="1185"/>
                  </a:lnTo>
                  <a:lnTo>
                    <a:pt x="1925" y="1167"/>
                  </a:lnTo>
                  <a:lnTo>
                    <a:pt x="1915" y="1148"/>
                  </a:lnTo>
                  <a:lnTo>
                    <a:pt x="1902" y="1132"/>
                  </a:lnTo>
                  <a:lnTo>
                    <a:pt x="1889" y="1116"/>
                  </a:lnTo>
                  <a:lnTo>
                    <a:pt x="1875" y="1102"/>
                  </a:lnTo>
                  <a:lnTo>
                    <a:pt x="1859" y="1089"/>
                  </a:lnTo>
                  <a:lnTo>
                    <a:pt x="1843" y="1076"/>
                  </a:lnTo>
                  <a:lnTo>
                    <a:pt x="1826" y="1064"/>
                  </a:lnTo>
                  <a:close/>
                  <a:moveTo>
                    <a:pt x="1796" y="1522"/>
                  </a:moveTo>
                  <a:lnTo>
                    <a:pt x="1796" y="1522"/>
                  </a:lnTo>
                  <a:lnTo>
                    <a:pt x="1791" y="1530"/>
                  </a:lnTo>
                  <a:lnTo>
                    <a:pt x="1784" y="1536"/>
                  </a:lnTo>
                  <a:lnTo>
                    <a:pt x="1778" y="1543"/>
                  </a:lnTo>
                  <a:lnTo>
                    <a:pt x="1771" y="1549"/>
                  </a:lnTo>
                  <a:lnTo>
                    <a:pt x="1763" y="1555"/>
                  </a:lnTo>
                  <a:lnTo>
                    <a:pt x="1756" y="1559"/>
                  </a:lnTo>
                  <a:lnTo>
                    <a:pt x="1747" y="1565"/>
                  </a:lnTo>
                  <a:lnTo>
                    <a:pt x="1739" y="1569"/>
                  </a:lnTo>
                  <a:lnTo>
                    <a:pt x="1730" y="1572"/>
                  </a:lnTo>
                  <a:lnTo>
                    <a:pt x="1720" y="1575"/>
                  </a:lnTo>
                  <a:lnTo>
                    <a:pt x="1711" y="1579"/>
                  </a:lnTo>
                  <a:lnTo>
                    <a:pt x="1701" y="1581"/>
                  </a:lnTo>
                  <a:lnTo>
                    <a:pt x="1681" y="1583"/>
                  </a:lnTo>
                  <a:lnTo>
                    <a:pt x="1659" y="1584"/>
                  </a:lnTo>
                  <a:lnTo>
                    <a:pt x="1636" y="1583"/>
                  </a:lnTo>
                  <a:lnTo>
                    <a:pt x="1616" y="1581"/>
                  </a:lnTo>
                  <a:lnTo>
                    <a:pt x="1606" y="1579"/>
                  </a:lnTo>
                  <a:lnTo>
                    <a:pt x="1597" y="1575"/>
                  </a:lnTo>
                  <a:lnTo>
                    <a:pt x="1587" y="1572"/>
                  </a:lnTo>
                  <a:lnTo>
                    <a:pt x="1579" y="1569"/>
                  </a:lnTo>
                  <a:lnTo>
                    <a:pt x="1570" y="1565"/>
                  </a:lnTo>
                  <a:lnTo>
                    <a:pt x="1563" y="1560"/>
                  </a:lnTo>
                  <a:lnTo>
                    <a:pt x="1555" y="1555"/>
                  </a:lnTo>
                  <a:lnTo>
                    <a:pt x="1548" y="1550"/>
                  </a:lnTo>
                  <a:lnTo>
                    <a:pt x="1540" y="1544"/>
                  </a:lnTo>
                  <a:lnTo>
                    <a:pt x="1534" y="1538"/>
                  </a:lnTo>
                  <a:lnTo>
                    <a:pt x="1527" y="1531"/>
                  </a:lnTo>
                  <a:lnTo>
                    <a:pt x="1521" y="1523"/>
                  </a:lnTo>
                  <a:lnTo>
                    <a:pt x="1510" y="1507"/>
                  </a:lnTo>
                  <a:lnTo>
                    <a:pt x="1501" y="1490"/>
                  </a:lnTo>
                  <a:lnTo>
                    <a:pt x="1493" y="1472"/>
                  </a:lnTo>
                  <a:lnTo>
                    <a:pt x="1487" y="1453"/>
                  </a:lnTo>
                  <a:lnTo>
                    <a:pt x="1482" y="1431"/>
                  </a:lnTo>
                  <a:lnTo>
                    <a:pt x="1478" y="1409"/>
                  </a:lnTo>
                  <a:lnTo>
                    <a:pt x="1476" y="1385"/>
                  </a:lnTo>
                  <a:lnTo>
                    <a:pt x="1475" y="1361"/>
                  </a:lnTo>
                  <a:lnTo>
                    <a:pt x="1475" y="1345"/>
                  </a:lnTo>
                  <a:lnTo>
                    <a:pt x="1476" y="1329"/>
                  </a:lnTo>
                  <a:lnTo>
                    <a:pt x="1477" y="1314"/>
                  </a:lnTo>
                  <a:lnTo>
                    <a:pt x="1479" y="1299"/>
                  </a:lnTo>
                  <a:lnTo>
                    <a:pt x="1483" y="1285"/>
                  </a:lnTo>
                  <a:lnTo>
                    <a:pt x="1486" y="1271"/>
                  </a:lnTo>
                  <a:lnTo>
                    <a:pt x="1490" y="1258"/>
                  </a:lnTo>
                  <a:lnTo>
                    <a:pt x="1494" y="1246"/>
                  </a:lnTo>
                  <a:lnTo>
                    <a:pt x="1500" y="1233"/>
                  </a:lnTo>
                  <a:lnTo>
                    <a:pt x="1506" y="1222"/>
                  </a:lnTo>
                  <a:lnTo>
                    <a:pt x="1512" y="1211"/>
                  </a:lnTo>
                  <a:lnTo>
                    <a:pt x="1520" y="1201"/>
                  </a:lnTo>
                  <a:lnTo>
                    <a:pt x="1527" y="1191"/>
                  </a:lnTo>
                  <a:lnTo>
                    <a:pt x="1536" y="1183"/>
                  </a:lnTo>
                  <a:lnTo>
                    <a:pt x="1546" y="1174"/>
                  </a:lnTo>
                  <a:lnTo>
                    <a:pt x="1555" y="1167"/>
                  </a:lnTo>
                  <a:lnTo>
                    <a:pt x="1566" y="1160"/>
                  </a:lnTo>
                  <a:lnTo>
                    <a:pt x="1576" y="1155"/>
                  </a:lnTo>
                  <a:lnTo>
                    <a:pt x="1588" y="1150"/>
                  </a:lnTo>
                  <a:lnTo>
                    <a:pt x="1601" y="1145"/>
                  </a:lnTo>
                  <a:lnTo>
                    <a:pt x="1614" y="1143"/>
                  </a:lnTo>
                  <a:lnTo>
                    <a:pt x="1628" y="1140"/>
                  </a:lnTo>
                  <a:lnTo>
                    <a:pt x="1643" y="1139"/>
                  </a:lnTo>
                  <a:lnTo>
                    <a:pt x="1659" y="1139"/>
                  </a:lnTo>
                  <a:lnTo>
                    <a:pt x="1680" y="1140"/>
                  </a:lnTo>
                  <a:lnTo>
                    <a:pt x="1701" y="1142"/>
                  </a:lnTo>
                  <a:lnTo>
                    <a:pt x="1711" y="1144"/>
                  </a:lnTo>
                  <a:lnTo>
                    <a:pt x="1720" y="1147"/>
                  </a:lnTo>
                  <a:lnTo>
                    <a:pt x="1729" y="1151"/>
                  </a:lnTo>
                  <a:lnTo>
                    <a:pt x="1739" y="1154"/>
                  </a:lnTo>
                  <a:lnTo>
                    <a:pt x="1747" y="1158"/>
                  </a:lnTo>
                  <a:lnTo>
                    <a:pt x="1755" y="1162"/>
                  </a:lnTo>
                  <a:lnTo>
                    <a:pt x="1762" y="1168"/>
                  </a:lnTo>
                  <a:lnTo>
                    <a:pt x="1770" y="1173"/>
                  </a:lnTo>
                  <a:lnTo>
                    <a:pt x="1777" y="1178"/>
                  </a:lnTo>
                  <a:lnTo>
                    <a:pt x="1783" y="1185"/>
                  </a:lnTo>
                  <a:lnTo>
                    <a:pt x="1790" y="1192"/>
                  </a:lnTo>
                  <a:lnTo>
                    <a:pt x="1796" y="1200"/>
                  </a:lnTo>
                  <a:lnTo>
                    <a:pt x="1807" y="1215"/>
                  </a:lnTo>
                  <a:lnTo>
                    <a:pt x="1816" y="1232"/>
                  </a:lnTo>
                  <a:lnTo>
                    <a:pt x="1824" y="1251"/>
                  </a:lnTo>
                  <a:lnTo>
                    <a:pt x="1830" y="1270"/>
                  </a:lnTo>
                  <a:lnTo>
                    <a:pt x="1836" y="1290"/>
                  </a:lnTo>
                  <a:lnTo>
                    <a:pt x="1839" y="1313"/>
                  </a:lnTo>
                  <a:lnTo>
                    <a:pt x="1841" y="1336"/>
                  </a:lnTo>
                  <a:lnTo>
                    <a:pt x="1842" y="1361"/>
                  </a:lnTo>
                  <a:lnTo>
                    <a:pt x="1841" y="1385"/>
                  </a:lnTo>
                  <a:lnTo>
                    <a:pt x="1839" y="1408"/>
                  </a:lnTo>
                  <a:lnTo>
                    <a:pt x="1836" y="1429"/>
                  </a:lnTo>
                  <a:lnTo>
                    <a:pt x="1830" y="1451"/>
                  </a:lnTo>
                  <a:lnTo>
                    <a:pt x="1824" y="1470"/>
                  </a:lnTo>
                  <a:lnTo>
                    <a:pt x="1816" y="1488"/>
                  </a:lnTo>
                  <a:lnTo>
                    <a:pt x="1807" y="1506"/>
                  </a:lnTo>
                  <a:lnTo>
                    <a:pt x="1796" y="1522"/>
                  </a:lnTo>
                  <a:close/>
                  <a:moveTo>
                    <a:pt x="2653" y="1535"/>
                  </a:moveTo>
                  <a:lnTo>
                    <a:pt x="2661" y="1516"/>
                  </a:lnTo>
                  <a:lnTo>
                    <a:pt x="2669" y="1495"/>
                  </a:lnTo>
                  <a:lnTo>
                    <a:pt x="2674" y="1474"/>
                  </a:lnTo>
                  <a:lnTo>
                    <a:pt x="2679" y="1453"/>
                  </a:lnTo>
                  <a:lnTo>
                    <a:pt x="2684" y="1430"/>
                  </a:lnTo>
                  <a:lnTo>
                    <a:pt x="2686" y="1408"/>
                  </a:lnTo>
                  <a:lnTo>
                    <a:pt x="2688" y="1384"/>
                  </a:lnTo>
                  <a:lnTo>
                    <a:pt x="2688" y="1361"/>
                  </a:lnTo>
                  <a:lnTo>
                    <a:pt x="2688" y="1336"/>
                  </a:lnTo>
                  <a:lnTo>
                    <a:pt x="2686" y="1314"/>
                  </a:lnTo>
                  <a:lnTo>
                    <a:pt x="2684" y="1290"/>
                  </a:lnTo>
                  <a:lnTo>
                    <a:pt x="2679" y="1269"/>
                  </a:lnTo>
                  <a:lnTo>
                    <a:pt x="2674" y="1248"/>
                  </a:lnTo>
                  <a:lnTo>
                    <a:pt x="2668" y="1226"/>
                  </a:lnTo>
                  <a:lnTo>
                    <a:pt x="2661" y="1206"/>
                  </a:lnTo>
                  <a:lnTo>
                    <a:pt x="2653" y="1187"/>
                  </a:lnTo>
                  <a:lnTo>
                    <a:pt x="2643" y="1168"/>
                  </a:lnTo>
                  <a:lnTo>
                    <a:pt x="2632" y="1151"/>
                  </a:lnTo>
                  <a:lnTo>
                    <a:pt x="2622" y="1134"/>
                  </a:lnTo>
                  <a:lnTo>
                    <a:pt x="2609" y="1119"/>
                  </a:lnTo>
                  <a:lnTo>
                    <a:pt x="2596" y="1104"/>
                  </a:lnTo>
                  <a:lnTo>
                    <a:pt x="2582" y="1090"/>
                  </a:lnTo>
                  <a:lnTo>
                    <a:pt x="2566" y="1077"/>
                  </a:lnTo>
                  <a:lnTo>
                    <a:pt x="2550" y="1065"/>
                  </a:lnTo>
                  <a:lnTo>
                    <a:pt x="2534" y="1056"/>
                  </a:lnTo>
                  <a:lnTo>
                    <a:pt x="2516" y="1046"/>
                  </a:lnTo>
                  <a:lnTo>
                    <a:pt x="2498" y="1039"/>
                  </a:lnTo>
                  <a:lnTo>
                    <a:pt x="2479" y="1032"/>
                  </a:lnTo>
                  <a:lnTo>
                    <a:pt x="2459" y="1027"/>
                  </a:lnTo>
                  <a:lnTo>
                    <a:pt x="2438" y="1024"/>
                  </a:lnTo>
                  <a:lnTo>
                    <a:pt x="2416" y="1021"/>
                  </a:lnTo>
                  <a:lnTo>
                    <a:pt x="2394" y="1021"/>
                  </a:lnTo>
                  <a:lnTo>
                    <a:pt x="2372" y="1021"/>
                  </a:lnTo>
                  <a:lnTo>
                    <a:pt x="2350" y="1024"/>
                  </a:lnTo>
                  <a:lnTo>
                    <a:pt x="2330" y="1027"/>
                  </a:lnTo>
                  <a:lnTo>
                    <a:pt x="2310" y="1032"/>
                  </a:lnTo>
                  <a:lnTo>
                    <a:pt x="2291" y="1039"/>
                  </a:lnTo>
                  <a:lnTo>
                    <a:pt x="2273" y="1046"/>
                  </a:lnTo>
                  <a:lnTo>
                    <a:pt x="2256" y="1056"/>
                  </a:lnTo>
                  <a:lnTo>
                    <a:pt x="2240" y="1065"/>
                  </a:lnTo>
                  <a:lnTo>
                    <a:pt x="2230" y="1073"/>
                  </a:lnTo>
                  <a:lnTo>
                    <a:pt x="2222" y="1080"/>
                  </a:lnTo>
                  <a:lnTo>
                    <a:pt x="2213" y="1089"/>
                  </a:lnTo>
                  <a:lnTo>
                    <a:pt x="2205" y="1097"/>
                  </a:lnTo>
                  <a:lnTo>
                    <a:pt x="2205" y="1039"/>
                  </a:lnTo>
                  <a:lnTo>
                    <a:pt x="2094" y="1039"/>
                  </a:lnTo>
                  <a:lnTo>
                    <a:pt x="2094" y="1970"/>
                  </a:lnTo>
                  <a:lnTo>
                    <a:pt x="2219" y="1970"/>
                  </a:lnTo>
                  <a:lnTo>
                    <a:pt x="2219" y="1637"/>
                  </a:lnTo>
                  <a:lnTo>
                    <a:pt x="2229" y="1648"/>
                  </a:lnTo>
                  <a:lnTo>
                    <a:pt x="2241" y="1657"/>
                  </a:lnTo>
                  <a:lnTo>
                    <a:pt x="2257" y="1667"/>
                  </a:lnTo>
                  <a:lnTo>
                    <a:pt x="2274" y="1677"/>
                  </a:lnTo>
                  <a:lnTo>
                    <a:pt x="2292" y="1684"/>
                  </a:lnTo>
                  <a:lnTo>
                    <a:pt x="2311" y="1691"/>
                  </a:lnTo>
                  <a:lnTo>
                    <a:pt x="2332" y="1696"/>
                  </a:lnTo>
                  <a:lnTo>
                    <a:pt x="2352" y="1699"/>
                  </a:lnTo>
                  <a:lnTo>
                    <a:pt x="2374" y="1701"/>
                  </a:lnTo>
                  <a:lnTo>
                    <a:pt x="2397" y="1701"/>
                  </a:lnTo>
                  <a:lnTo>
                    <a:pt x="2419" y="1701"/>
                  </a:lnTo>
                  <a:lnTo>
                    <a:pt x="2440" y="1699"/>
                  </a:lnTo>
                  <a:lnTo>
                    <a:pt x="2461" y="1696"/>
                  </a:lnTo>
                  <a:lnTo>
                    <a:pt x="2480" y="1691"/>
                  </a:lnTo>
                  <a:lnTo>
                    <a:pt x="2499" y="1684"/>
                  </a:lnTo>
                  <a:lnTo>
                    <a:pt x="2517" y="1677"/>
                  </a:lnTo>
                  <a:lnTo>
                    <a:pt x="2535" y="1667"/>
                  </a:lnTo>
                  <a:lnTo>
                    <a:pt x="2552" y="1657"/>
                  </a:lnTo>
                  <a:lnTo>
                    <a:pt x="2567" y="1646"/>
                  </a:lnTo>
                  <a:lnTo>
                    <a:pt x="2582" y="1633"/>
                  </a:lnTo>
                  <a:lnTo>
                    <a:pt x="2597" y="1619"/>
                  </a:lnTo>
                  <a:lnTo>
                    <a:pt x="2610" y="1604"/>
                  </a:lnTo>
                  <a:lnTo>
                    <a:pt x="2622" y="1588"/>
                  </a:lnTo>
                  <a:lnTo>
                    <a:pt x="2633" y="1571"/>
                  </a:lnTo>
                  <a:lnTo>
                    <a:pt x="2643" y="1554"/>
                  </a:lnTo>
                  <a:lnTo>
                    <a:pt x="2653" y="1535"/>
                  </a:lnTo>
                  <a:close/>
                  <a:moveTo>
                    <a:pt x="2478" y="1558"/>
                  </a:moveTo>
                  <a:lnTo>
                    <a:pt x="2478" y="1558"/>
                  </a:lnTo>
                  <a:lnTo>
                    <a:pt x="2468" y="1566"/>
                  </a:lnTo>
                  <a:lnTo>
                    <a:pt x="2458" y="1572"/>
                  </a:lnTo>
                  <a:lnTo>
                    <a:pt x="2446" y="1578"/>
                  </a:lnTo>
                  <a:lnTo>
                    <a:pt x="2434" y="1582"/>
                  </a:lnTo>
                  <a:lnTo>
                    <a:pt x="2421" y="1585"/>
                  </a:lnTo>
                  <a:lnTo>
                    <a:pt x="2407" y="1587"/>
                  </a:lnTo>
                  <a:lnTo>
                    <a:pt x="2394" y="1588"/>
                  </a:lnTo>
                  <a:lnTo>
                    <a:pt x="2380" y="1589"/>
                  </a:lnTo>
                  <a:lnTo>
                    <a:pt x="2364" y="1588"/>
                  </a:lnTo>
                  <a:lnTo>
                    <a:pt x="2350" y="1587"/>
                  </a:lnTo>
                  <a:lnTo>
                    <a:pt x="2336" y="1585"/>
                  </a:lnTo>
                  <a:lnTo>
                    <a:pt x="2323" y="1582"/>
                  </a:lnTo>
                  <a:lnTo>
                    <a:pt x="2311" y="1578"/>
                  </a:lnTo>
                  <a:lnTo>
                    <a:pt x="2300" y="1572"/>
                  </a:lnTo>
                  <a:lnTo>
                    <a:pt x="2289" y="1567"/>
                  </a:lnTo>
                  <a:lnTo>
                    <a:pt x="2279" y="1559"/>
                  </a:lnTo>
                  <a:lnTo>
                    <a:pt x="2270" y="1552"/>
                  </a:lnTo>
                  <a:lnTo>
                    <a:pt x="2261" y="1543"/>
                  </a:lnTo>
                  <a:lnTo>
                    <a:pt x="2253" y="1535"/>
                  </a:lnTo>
                  <a:lnTo>
                    <a:pt x="2245" y="1525"/>
                  </a:lnTo>
                  <a:lnTo>
                    <a:pt x="2239" y="1515"/>
                  </a:lnTo>
                  <a:lnTo>
                    <a:pt x="2232" y="1504"/>
                  </a:lnTo>
                  <a:lnTo>
                    <a:pt x="2227" y="1491"/>
                  </a:lnTo>
                  <a:lnTo>
                    <a:pt x="2222" y="1479"/>
                  </a:lnTo>
                  <a:lnTo>
                    <a:pt x="2218" y="1467"/>
                  </a:lnTo>
                  <a:lnTo>
                    <a:pt x="2214" y="1453"/>
                  </a:lnTo>
                  <a:lnTo>
                    <a:pt x="2211" y="1439"/>
                  </a:lnTo>
                  <a:lnTo>
                    <a:pt x="2209" y="1424"/>
                  </a:lnTo>
                  <a:lnTo>
                    <a:pt x="2207" y="1409"/>
                  </a:lnTo>
                  <a:lnTo>
                    <a:pt x="2206" y="1393"/>
                  </a:lnTo>
                  <a:lnTo>
                    <a:pt x="2205" y="1377"/>
                  </a:lnTo>
                  <a:lnTo>
                    <a:pt x="2205" y="1361"/>
                  </a:lnTo>
                  <a:lnTo>
                    <a:pt x="2205" y="1345"/>
                  </a:lnTo>
                  <a:lnTo>
                    <a:pt x="2206" y="1329"/>
                  </a:lnTo>
                  <a:lnTo>
                    <a:pt x="2207" y="1313"/>
                  </a:lnTo>
                  <a:lnTo>
                    <a:pt x="2209" y="1298"/>
                  </a:lnTo>
                  <a:lnTo>
                    <a:pt x="2211" y="1283"/>
                  </a:lnTo>
                  <a:lnTo>
                    <a:pt x="2214" y="1269"/>
                  </a:lnTo>
                  <a:lnTo>
                    <a:pt x="2219" y="1255"/>
                  </a:lnTo>
                  <a:lnTo>
                    <a:pt x="2223" y="1242"/>
                  </a:lnTo>
                  <a:lnTo>
                    <a:pt x="2227" y="1230"/>
                  </a:lnTo>
                  <a:lnTo>
                    <a:pt x="2232" y="1218"/>
                  </a:lnTo>
                  <a:lnTo>
                    <a:pt x="2239" y="1207"/>
                  </a:lnTo>
                  <a:lnTo>
                    <a:pt x="2245" y="1196"/>
                  </a:lnTo>
                  <a:lnTo>
                    <a:pt x="2253" y="1187"/>
                  </a:lnTo>
                  <a:lnTo>
                    <a:pt x="2261" y="1178"/>
                  </a:lnTo>
                  <a:lnTo>
                    <a:pt x="2270" y="1170"/>
                  </a:lnTo>
                  <a:lnTo>
                    <a:pt x="2278" y="1162"/>
                  </a:lnTo>
                  <a:lnTo>
                    <a:pt x="2288" y="1156"/>
                  </a:lnTo>
                  <a:lnTo>
                    <a:pt x="2299" y="1150"/>
                  </a:lnTo>
                  <a:lnTo>
                    <a:pt x="2310" y="1145"/>
                  </a:lnTo>
                  <a:lnTo>
                    <a:pt x="2322" y="1141"/>
                  </a:lnTo>
                  <a:lnTo>
                    <a:pt x="2334" y="1138"/>
                  </a:lnTo>
                  <a:lnTo>
                    <a:pt x="2347" y="1136"/>
                  </a:lnTo>
                  <a:lnTo>
                    <a:pt x="2360" y="1135"/>
                  </a:lnTo>
                  <a:lnTo>
                    <a:pt x="2375" y="1134"/>
                  </a:lnTo>
                  <a:lnTo>
                    <a:pt x="2390" y="1135"/>
                  </a:lnTo>
                  <a:lnTo>
                    <a:pt x="2404" y="1136"/>
                  </a:lnTo>
                  <a:lnTo>
                    <a:pt x="2418" y="1138"/>
                  </a:lnTo>
                  <a:lnTo>
                    <a:pt x="2432" y="1142"/>
                  </a:lnTo>
                  <a:lnTo>
                    <a:pt x="2444" y="1146"/>
                  </a:lnTo>
                  <a:lnTo>
                    <a:pt x="2455" y="1151"/>
                  </a:lnTo>
                  <a:lnTo>
                    <a:pt x="2467" y="1157"/>
                  </a:lnTo>
                  <a:lnTo>
                    <a:pt x="2477" y="1164"/>
                  </a:lnTo>
                  <a:lnTo>
                    <a:pt x="2486" y="1172"/>
                  </a:lnTo>
                  <a:lnTo>
                    <a:pt x="2496" y="1180"/>
                  </a:lnTo>
                  <a:lnTo>
                    <a:pt x="2504" y="1190"/>
                  </a:lnTo>
                  <a:lnTo>
                    <a:pt x="2512" y="1200"/>
                  </a:lnTo>
                  <a:lnTo>
                    <a:pt x="2519" y="1210"/>
                  </a:lnTo>
                  <a:lnTo>
                    <a:pt x="2526" y="1222"/>
                  </a:lnTo>
                  <a:lnTo>
                    <a:pt x="2531" y="1234"/>
                  </a:lnTo>
                  <a:lnTo>
                    <a:pt x="2536" y="1247"/>
                  </a:lnTo>
                  <a:lnTo>
                    <a:pt x="2541" y="1259"/>
                  </a:lnTo>
                  <a:lnTo>
                    <a:pt x="2545" y="1272"/>
                  </a:lnTo>
                  <a:lnTo>
                    <a:pt x="2548" y="1286"/>
                  </a:lnTo>
                  <a:lnTo>
                    <a:pt x="2551" y="1300"/>
                  </a:lnTo>
                  <a:lnTo>
                    <a:pt x="2554" y="1315"/>
                  </a:lnTo>
                  <a:lnTo>
                    <a:pt x="2555" y="1330"/>
                  </a:lnTo>
                  <a:lnTo>
                    <a:pt x="2556" y="1345"/>
                  </a:lnTo>
                  <a:lnTo>
                    <a:pt x="2556" y="1361"/>
                  </a:lnTo>
                  <a:lnTo>
                    <a:pt x="2556" y="1377"/>
                  </a:lnTo>
                  <a:lnTo>
                    <a:pt x="2555" y="1392"/>
                  </a:lnTo>
                  <a:lnTo>
                    <a:pt x="2554" y="1407"/>
                  </a:lnTo>
                  <a:lnTo>
                    <a:pt x="2551" y="1422"/>
                  </a:lnTo>
                  <a:lnTo>
                    <a:pt x="2548" y="1436"/>
                  </a:lnTo>
                  <a:lnTo>
                    <a:pt x="2545" y="1449"/>
                  </a:lnTo>
                  <a:lnTo>
                    <a:pt x="2541" y="1463"/>
                  </a:lnTo>
                  <a:lnTo>
                    <a:pt x="2536" y="1476"/>
                  </a:lnTo>
                  <a:lnTo>
                    <a:pt x="2531" y="1489"/>
                  </a:lnTo>
                  <a:lnTo>
                    <a:pt x="2526" y="1501"/>
                  </a:lnTo>
                  <a:lnTo>
                    <a:pt x="2519" y="1512"/>
                  </a:lnTo>
                  <a:lnTo>
                    <a:pt x="2512" y="1523"/>
                  </a:lnTo>
                  <a:lnTo>
                    <a:pt x="2504" y="1533"/>
                  </a:lnTo>
                  <a:lnTo>
                    <a:pt x="2496" y="1542"/>
                  </a:lnTo>
                  <a:lnTo>
                    <a:pt x="2487" y="1551"/>
                  </a:lnTo>
                  <a:lnTo>
                    <a:pt x="2478" y="1558"/>
                  </a:lnTo>
                  <a:close/>
                  <a:moveTo>
                    <a:pt x="2932" y="1157"/>
                  </a:moveTo>
                  <a:lnTo>
                    <a:pt x="3227" y="1157"/>
                  </a:lnTo>
                  <a:lnTo>
                    <a:pt x="3227" y="1684"/>
                  </a:lnTo>
                  <a:lnTo>
                    <a:pt x="3350" y="1684"/>
                  </a:lnTo>
                  <a:lnTo>
                    <a:pt x="3350" y="1039"/>
                  </a:lnTo>
                  <a:lnTo>
                    <a:pt x="2807" y="1039"/>
                  </a:lnTo>
                  <a:lnTo>
                    <a:pt x="2807" y="1684"/>
                  </a:lnTo>
                  <a:lnTo>
                    <a:pt x="2932" y="1684"/>
                  </a:lnTo>
                  <a:lnTo>
                    <a:pt x="2932" y="1157"/>
                  </a:lnTo>
                  <a:close/>
                  <a:moveTo>
                    <a:pt x="3954" y="1064"/>
                  </a:moveTo>
                  <a:lnTo>
                    <a:pt x="3936" y="1055"/>
                  </a:lnTo>
                  <a:lnTo>
                    <a:pt x="3917" y="1046"/>
                  </a:lnTo>
                  <a:lnTo>
                    <a:pt x="3896" y="1039"/>
                  </a:lnTo>
                  <a:lnTo>
                    <a:pt x="3876" y="1032"/>
                  </a:lnTo>
                  <a:lnTo>
                    <a:pt x="3855" y="1027"/>
                  </a:lnTo>
                  <a:lnTo>
                    <a:pt x="3832" y="1024"/>
                  </a:lnTo>
                  <a:lnTo>
                    <a:pt x="3810" y="1021"/>
                  </a:lnTo>
                  <a:lnTo>
                    <a:pt x="3785" y="1021"/>
                  </a:lnTo>
                  <a:lnTo>
                    <a:pt x="3762" y="1021"/>
                  </a:lnTo>
                  <a:lnTo>
                    <a:pt x="3740" y="1024"/>
                  </a:lnTo>
                  <a:lnTo>
                    <a:pt x="3718" y="1027"/>
                  </a:lnTo>
                  <a:lnTo>
                    <a:pt x="3697" y="1032"/>
                  </a:lnTo>
                  <a:lnTo>
                    <a:pt x="3677" y="1037"/>
                  </a:lnTo>
                  <a:lnTo>
                    <a:pt x="3656" y="1045"/>
                  </a:lnTo>
                  <a:lnTo>
                    <a:pt x="3638" y="1053"/>
                  </a:lnTo>
                  <a:lnTo>
                    <a:pt x="3620" y="1064"/>
                  </a:lnTo>
                  <a:lnTo>
                    <a:pt x="3603" y="1075"/>
                  </a:lnTo>
                  <a:lnTo>
                    <a:pt x="3586" y="1088"/>
                  </a:lnTo>
                  <a:lnTo>
                    <a:pt x="3571" y="1100"/>
                  </a:lnTo>
                  <a:lnTo>
                    <a:pt x="3557" y="1115"/>
                  </a:lnTo>
                  <a:lnTo>
                    <a:pt x="3543" y="1130"/>
                  </a:lnTo>
                  <a:lnTo>
                    <a:pt x="3532" y="1147"/>
                  </a:lnTo>
                  <a:lnTo>
                    <a:pt x="3520" y="1164"/>
                  </a:lnTo>
                  <a:lnTo>
                    <a:pt x="3509" y="1184"/>
                  </a:lnTo>
                  <a:lnTo>
                    <a:pt x="3501" y="1203"/>
                  </a:lnTo>
                  <a:lnTo>
                    <a:pt x="3492" y="1223"/>
                  </a:lnTo>
                  <a:lnTo>
                    <a:pt x="3486" y="1245"/>
                  </a:lnTo>
                  <a:lnTo>
                    <a:pt x="3480" y="1266"/>
                  </a:lnTo>
                  <a:lnTo>
                    <a:pt x="3476" y="1288"/>
                  </a:lnTo>
                  <a:lnTo>
                    <a:pt x="3473" y="1312"/>
                  </a:lnTo>
                  <a:lnTo>
                    <a:pt x="3471" y="1336"/>
                  </a:lnTo>
                  <a:lnTo>
                    <a:pt x="3470" y="1361"/>
                  </a:lnTo>
                  <a:lnTo>
                    <a:pt x="3471" y="1385"/>
                  </a:lnTo>
                  <a:lnTo>
                    <a:pt x="3473" y="1410"/>
                  </a:lnTo>
                  <a:lnTo>
                    <a:pt x="3475" y="1432"/>
                  </a:lnTo>
                  <a:lnTo>
                    <a:pt x="3479" y="1455"/>
                  </a:lnTo>
                  <a:lnTo>
                    <a:pt x="3485" y="1477"/>
                  </a:lnTo>
                  <a:lnTo>
                    <a:pt x="3492" y="1499"/>
                  </a:lnTo>
                  <a:lnTo>
                    <a:pt x="3500" y="1519"/>
                  </a:lnTo>
                  <a:lnTo>
                    <a:pt x="3508" y="1538"/>
                  </a:lnTo>
                  <a:lnTo>
                    <a:pt x="3519" y="1556"/>
                  </a:lnTo>
                  <a:lnTo>
                    <a:pt x="3529" y="1574"/>
                  </a:lnTo>
                  <a:lnTo>
                    <a:pt x="3542" y="1590"/>
                  </a:lnTo>
                  <a:lnTo>
                    <a:pt x="3555" y="1606"/>
                  </a:lnTo>
                  <a:lnTo>
                    <a:pt x="3569" y="1621"/>
                  </a:lnTo>
                  <a:lnTo>
                    <a:pt x="3585" y="1634"/>
                  </a:lnTo>
                  <a:lnTo>
                    <a:pt x="3601" y="1647"/>
                  </a:lnTo>
                  <a:lnTo>
                    <a:pt x="3618" y="1659"/>
                  </a:lnTo>
                  <a:lnTo>
                    <a:pt x="3636" y="1668"/>
                  </a:lnTo>
                  <a:lnTo>
                    <a:pt x="3655" y="1677"/>
                  </a:lnTo>
                  <a:lnTo>
                    <a:pt x="3675" y="1684"/>
                  </a:lnTo>
                  <a:lnTo>
                    <a:pt x="3696" y="1691"/>
                  </a:lnTo>
                  <a:lnTo>
                    <a:pt x="3717" y="1696"/>
                  </a:lnTo>
                  <a:lnTo>
                    <a:pt x="3740" y="1699"/>
                  </a:lnTo>
                  <a:lnTo>
                    <a:pt x="3762" y="1701"/>
                  </a:lnTo>
                  <a:lnTo>
                    <a:pt x="3785" y="1701"/>
                  </a:lnTo>
                  <a:lnTo>
                    <a:pt x="3810" y="1701"/>
                  </a:lnTo>
                  <a:lnTo>
                    <a:pt x="3832" y="1699"/>
                  </a:lnTo>
                  <a:lnTo>
                    <a:pt x="3855" y="1696"/>
                  </a:lnTo>
                  <a:lnTo>
                    <a:pt x="3876" y="1691"/>
                  </a:lnTo>
                  <a:lnTo>
                    <a:pt x="3896" y="1685"/>
                  </a:lnTo>
                  <a:lnTo>
                    <a:pt x="3916" y="1678"/>
                  </a:lnTo>
                  <a:lnTo>
                    <a:pt x="3935" y="1668"/>
                  </a:lnTo>
                  <a:lnTo>
                    <a:pt x="3953" y="1659"/>
                  </a:lnTo>
                  <a:lnTo>
                    <a:pt x="3970" y="1647"/>
                  </a:lnTo>
                  <a:lnTo>
                    <a:pt x="3986" y="1635"/>
                  </a:lnTo>
                  <a:lnTo>
                    <a:pt x="4002" y="1621"/>
                  </a:lnTo>
                  <a:lnTo>
                    <a:pt x="4016" y="1607"/>
                  </a:lnTo>
                  <a:lnTo>
                    <a:pt x="4030" y="1591"/>
                  </a:lnTo>
                  <a:lnTo>
                    <a:pt x="4041" y="1574"/>
                  </a:lnTo>
                  <a:lnTo>
                    <a:pt x="4053" y="1557"/>
                  </a:lnTo>
                  <a:lnTo>
                    <a:pt x="4063" y="1538"/>
                  </a:lnTo>
                  <a:lnTo>
                    <a:pt x="4072" y="1519"/>
                  </a:lnTo>
                  <a:lnTo>
                    <a:pt x="4080" y="1499"/>
                  </a:lnTo>
                  <a:lnTo>
                    <a:pt x="4087" y="1477"/>
                  </a:lnTo>
                  <a:lnTo>
                    <a:pt x="4093" y="1456"/>
                  </a:lnTo>
                  <a:lnTo>
                    <a:pt x="4097" y="1433"/>
                  </a:lnTo>
                  <a:lnTo>
                    <a:pt x="4100" y="1410"/>
                  </a:lnTo>
                  <a:lnTo>
                    <a:pt x="4101" y="1385"/>
                  </a:lnTo>
                  <a:lnTo>
                    <a:pt x="4102" y="1361"/>
                  </a:lnTo>
                  <a:lnTo>
                    <a:pt x="4101" y="1336"/>
                  </a:lnTo>
                  <a:lnTo>
                    <a:pt x="4100" y="1313"/>
                  </a:lnTo>
                  <a:lnTo>
                    <a:pt x="4097" y="1289"/>
                  </a:lnTo>
                  <a:lnTo>
                    <a:pt x="4093" y="1267"/>
                  </a:lnTo>
                  <a:lnTo>
                    <a:pt x="4087" y="1246"/>
                  </a:lnTo>
                  <a:lnTo>
                    <a:pt x="4080" y="1224"/>
                  </a:lnTo>
                  <a:lnTo>
                    <a:pt x="4072" y="1204"/>
                  </a:lnTo>
                  <a:lnTo>
                    <a:pt x="4064" y="1185"/>
                  </a:lnTo>
                  <a:lnTo>
                    <a:pt x="4053" y="1167"/>
                  </a:lnTo>
                  <a:lnTo>
                    <a:pt x="4041" y="1148"/>
                  </a:lnTo>
                  <a:lnTo>
                    <a:pt x="4030" y="1132"/>
                  </a:lnTo>
                  <a:lnTo>
                    <a:pt x="4017" y="1116"/>
                  </a:lnTo>
                  <a:lnTo>
                    <a:pt x="4002" y="1102"/>
                  </a:lnTo>
                  <a:lnTo>
                    <a:pt x="3987" y="1089"/>
                  </a:lnTo>
                  <a:lnTo>
                    <a:pt x="3971" y="1076"/>
                  </a:lnTo>
                  <a:lnTo>
                    <a:pt x="3954" y="1064"/>
                  </a:lnTo>
                  <a:close/>
                  <a:moveTo>
                    <a:pt x="3924" y="1522"/>
                  </a:moveTo>
                  <a:lnTo>
                    <a:pt x="3924" y="1522"/>
                  </a:lnTo>
                  <a:lnTo>
                    <a:pt x="3918" y="1530"/>
                  </a:lnTo>
                  <a:lnTo>
                    <a:pt x="3912" y="1536"/>
                  </a:lnTo>
                  <a:lnTo>
                    <a:pt x="3905" y="1543"/>
                  </a:lnTo>
                  <a:lnTo>
                    <a:pt x="3899" y="1549"/>
                  </a:lnTo>
                  <a:lnTo>
                    <a:pt x="3891" y="1555"/>
                  </a:lnTo>
                  <a:lnTo>
                    <a:pt x="3884" y="1559"/>
                  </a:lnTo>
                  <a:lnTo>
                    <a:pt x="3875" y="1565"/>
                  </a:lnTo>
                  <a:lnTo>
                    <a:pt x="3867" y="1569"/>
                  </a:lnTo>
                  <a:lnTo>
                    <a:pt x="3858" y="1572"/>
                  </a:lnTo>
                  <a:lnTo>
                    <a:pt x="3848" y="1575"/>
                  </a:lnTo>
                  <a:lnTo>
                    <a:pt x="3839" y="1579"/>
                  </a:lnTo>
                  <a:lnTo>
                    <a:pt x="3829" y="1581"/>
                  </a:lnTo>
                  <a:lnTo>
                    <a:pt x="3808" y="1583"/>
                  </a:lnTo>
                  <a:lnTo>
                    <a:pt x="3785" y="1584"/>
                  </a:lnTo>
                  <a:lnTo>
                    <a:pt x="3764" y="1583"/>
                  </a:lnTo>
                  <a:lnTo>
                    <a:pt x="3744" y="1581"/>
                  </a:lnTo>
                  <a:lnTo>
                    <a:pt x="3734" y="1579"/>
                  </a:lnTo>
                  <a:lnTo>
                    <a:pt x="3725" y="1575"/>
                  </a:lnTo>
                  <a:lnTo>
                    <a:pt x="3715" y="1572"/>
                  </a:lnTo>
                  <a:lnTo>
                    <a:pt x="3707" y="1569"/>
                  </a:lnTo>
                  <a:lnTo>
                    <a:pt x="3698" y="1565"/>
                  </a:lnTo>
                  <a:lnTo>
                    <a:pt x="3691" y="1560"/>
                  </a:lnTo>
                  <a:lnTo>
                    <a:pt x="3682" y="1555"/>
                  </a:lnTo>
                  <a:lnTo>
                    <a:pt x="3676" y="1550"/>
                  </a:lnTo>
                  <a:lnTo>
                    <a:pt x="3668" y="1544"/>
                  </a:lnTo>
                  <a:lnTo>
                    <a:pt x="3662" y="1538"/>
                  </a:lnTo>
                  <a:lnTo>
                    <a:pt x="3655" y="1531"/>
                  </a:lnTo>
                  <a:lnTo>
                    <a:pt x="3649" y="1523"/>
                  </a:lnTo>
                  <a:lnTo>
                    <a:pt x="3638" y="1507"/>
                  </a:lnTo>
                  <a:lnTo>
                    <a:pt x="3629" y="1490"/>
                  </a:lnTo>
                  <a:lnTo>
                    <a:pt x="3621" y="1472"/>
                  </a:lnTo>
                  <a:lnTo>
                    <a:pt x="3614" y="1453"/>
                  </a:lnTo>
                  <a:lnTo>
                    <a:pt x="3609" y="1431"/>
                  </a:lnTo>
                  <a:lnTo>
                    <a:pt x="3605" y="1409"/>
                  </a:lnTo>
                  <a:lnTo>
                    <a:pt x="3603" y="1385"/>
                  </a:lnTo>
                  <a:lnTo>
                    <a:pt x="3603" y="1361"/>
                  </a:lnTo>
                  <a:lnTo>
                    <a:pt x="3603" y="1345"/>
                  </a:lnTo>
                  <a:lnTo>
                    <a:pt x="3604" y="1329"/>
                  </a:lnTo>
                  <a:lnTo>
                    <a:pt x="3605" y="1314"/>
                  </a:lnTo>
                  <a:lnTo>
                    <a:pt x="3607" y="1299"/>
                  </a:lnTo>
                  <a:lnTo>
                    <a:pt x="3611" y="1285"/>
                  </a:lnTo>
                  <a:lnTo>
                    <a:pt x="3614" y="1271"/>
                  </a:lnTo>
                  <a:lnTo>
                    <a:pt x="3618" y="1258"/>
                  </a:lnTo>
                  <a:lnTo>
                    <a:pt x="3622" y="1246"/>
                  </a:lnTo>
                  <a:lnTo>
                    <a:pt x="3628" y="1233"/>
                  </a:lnTo>
                  <a:lnTo>
                    <a:pt x="3634" y="1222"/>
                  </a:lnTo>
                  <a:lnTo>
                    <a:pt x="3640" y="1211"/>
                  </a:lnTo>
                  <a:lnTo>
                    <a:pt x="3647" y="1201"/>
                  </a:lnTo>
                  <a:lnTo>
                    <a:pt x="3655" y="1191"/>
                  </a:lnTo>
                  <a:lnTo>
                    <a:pt x="3664" y="1183"/>
                  </a:lnTo>
                  <a:lnTo>
                    <a:pt x="3672" y="1174"/>
                  </a:lnTo>
                  <a:lnTo>
                    <a:pt x="3683" y="1167"/>
                  </a:lnTo>
                  <a:lnTo>
                    <a:pt x="3693" y="1160"/>
                  </a:lnTo>
                  <a:lnTo>
                    <a:pt x="3704" y="1155"/>
                  </a:lnTo>
                  <a:lnTo>
                    <a:pt x="3716" y="1150"/>
                  </a:lnTo>
                  <a:lnTo>
                    <a:pt x="3729" y="1145"/>
                  </a:lnTo>
                  <a:lnTo>
                    <a:pt x="3742" y="1143"/>
                  </a:lnTo>
                  <a:lnTo>
                    <a:pt x="3756" y="1140"/>
                  </a:lnTo>
                  <a:lnTo>
                    <a:pt x="3771" y="1139"/>
                  </a:lnTo>
                  <a:lnTo>
                    <a:pt x="3785" y="1139"/>
                  </a:lnTo>
                  <a:lnTo>
                    <a:pt x="3808" y="1140"/>
                  </a:lnTo>
                  <a:lnTo>
                    <a:pt x="3829" y="1142"/>
                  </a:lnTo>
                  <a:lnTo>
                    <a:pt x="3839" y="1144"/>
                  </a:lnTo>
                  <a:lnTo>
                    <a:pt x="3848" y="1147"/>
                  </a:lnTo>
                  <a:lnTo>
                    <a:pt x="3857" y="1151"/>
                  </a:lnTo>
                  <a:lnTo>
                    <a:pt x="3865" y="1154"/>
                  </a:lnTo>
                  <a:lnTo>
                    <a:pt x="3874" y="1158"/>
                  </a:lnTo>
                  <a:lnTo>
                    <a:pt x="3883" y="1162"/>
                  </a:lnTo>
                  <a:lnTo>
                    <a:pt x="3890" y="1168"/>
                  </a:lnTo>
                  <a:lnTo>
                    <a:pt x="3897" y="1173"/>
                  </a:lnTo>
                  <a:lnTo>
                    <a:pt x="3905" y="1178"/>
                  </a:lnTo>
                  <a:lnTo>
                    <a:pt x="3911" y="1185"/>
                  </a:lnTo>
                  <a:lnTo>
                    <a:pt x="3918" y="1192"/>
                  </a:lnTo>
                  <a:lnTo>
                    <a:pt x="3923" y="1200"/>
                  </a:lnTo>
                  <a:lnTo>
                    <a:pt x="3934" y="1215"/>
                  </a:lnTo>
                  <a:lnTo>
                    <a:pt x="3943" y="1232"/>
                  </a:lnTo>
                  <a:lnTo>
                    <a:pt x="3952" y="1251"/>
                  </a:lnTo>
                  <a:lnTo>
                    <a:pt x="3958" y="1270"/>
                  </a:lnTo>
                  <a:lnTo>
                    <a:pt x="3964" y="1290"/>
                  </a:lnTo>
                  <a:lnTo>
                    <a:pt x="3967" y="1313"/>
                  </a:lnTo>
                  <a:lnTo>
                    <a:pt x="3969" y="1336"/>
                  </a:lnTo>
                  <a:lnTo>
                    <a:pt x="3970" y="1361"/>
                  </a:lnTo>
                  <a:lnTo>
                    <a:pt x="3969" y="1385"/>
                  </a:lnTo>
                  <a:lnTo>
                    <a:pt x="3967" y="1408"/>
                  </a:lnTo>
                  <a:lnTo>
                    <a:pt x="3964" y="1429"/>
                  </a:lnTo>
                  <a:lnTo>
                    <a:pt x="3958" y="1451"/>
                  </a:lnTo>
                  <a:lnTo>
                    <a:pt x="3952" y="1470"/>
                  </a:lnTo>
                  <a:lnTo>
                    <a:pt x="3944" y="1488"/>
                  </a:lnTo>
                  <a:lnTo>
                    <a:pt x="3935" y="1506"/>
                  </a:lnTo>
                  <a:lnTo>
                    <a:pt x="3924" y="1522"/>
                  </a:lnTo>
                  <a:close/>
                  <a:moveTo>
                    <a:pt x="4678" y="1065"/>
                  </a:moveTo>
                  <a:lnTo>
                    <a:pt x="4661" y="1056"/>
                  </a:lnTo>
                  <a:lnTo>
                    <a:pt x="4644" y="1046"/>
                  </a:lnTo>
                  <a:lnTo>
                    <a:pt x="4625" y="1039"/>
                  </a:lnTo>
                  <a:lnTo>
                    <a:pt x="4606" y="1032"/>
                  </a:lnTo>
                  <a:lnTo>
                    <a:pt x="4586" y="1027"/>
                  </a:lnTo>
                  <a:lnTo>
                    <a:pt x="4565" y="1024"/>
                  </a:lnTo>
                  <a:lnTo>
                    <a:pt x="4544" y="1021"/>
                  </a:lnTo>
                  <a:lnTo>
                    <a:pt x="4521" y="1021"/>
                  </a:lnTo>
                  <a:lnTo>
                    <a:pt x="4499" y="1021"/>
                  </a:lnTo>
                  <a:lnTo>
                    <a:pt x="4478" y="1024"/>
                  </a:lnTo>
                  <a:lnTo>
                    <a:pt x="4457" y="1027"/>
                  </a:lnTo>
                  <a:lnTo>
                    <a:pt x="4437" y="1032"/>
                  </a:lnTo>
                  <a:lnTo>
                    <a:pt x="4419" y="1039"/>
                  </a:lnTo>
                  <a:lnTo>
                    <a:pt x="4401" y="1046"/>
                  </a:lnTo>
                  <a:lnTo>
                    <a:pt x="4384" y="1056"/>
                  </a:lnTo>
                  <a:lnTo>
                    <a:pt x="4368" y="1065"/>
                  </a:lnTo>
                  <a:lnTo>
                    <a:pt x="4358" y="1073"/>
                  </a:lnTo>
                  <a:lnTo>
                    <a:pt x="4350" y="1080"/>
                  </a:lnTo>
                  <a:lnTo>
                    <a:pt x="4340" y="1089"/>
                  </a:lnTo>
                  <a:lnTo>
                    <a:pt x="4332" y="1097"/>
                  </a:lnTo>
                  <a:lnTo>
                    <a:pt x="4332" y="1039"/>
                  </a:lnTo>
                  <a:lnTo>
                    <a:pt x="4221" y="1039"/>
                  </a:lnTo>
                  <a:lnTo>
                    <a:pt x="4221" y="1970"/>
                  </a:lnTo>
                  <a:lnTo>
                    <a:pt x="4346" y="1970"/>
                  </a:lnTo>
                  <a:lnTo>
                    <a:pt x="4346" y="1637"/>
                  </a:lnTo>
                  <a:lnTo>
                    <a:pt x="4357" y="1648"/>
                  </a:lnTo>
                  <a:lnTo>
                    <a:pt x="4369" y="1657"/>
                  </a:lnTo>
                  <a:lnTo>
                    <a:pt x="4385" y="1667"/>
                  </a:lnTo>
                  <a:lnTo>
                    <a:pt x="4402" y="1677"/>
                  </a:lnTo>
                  <a:lnTo>
                    <a:pt x="4420" y="1684"/>
                  </a:lnTo>
                  <a:lnTo>
                    <a:pt x="4439" y="1691"/>
                  </a:lnTo>
                  <a:lnTo>
                    <a:pt x="4458" y="1696"/>
                  </a:lnTo>
                  <a:lnTo>
                    <a:pt x="4480" y="1699"/>
                  </a:lnTo>
                  <a:lnTo>
                    <a:pt x="4501" y="1701"/>
                  </a:lnTo>
                  <a:lnTo>
                    <a:pt x="4525" y="1701"/>
                  </a:lnTo>
                  <a:lnTo>
                    <a:pt x="4546" y="1701"/>
                  </a:lnTo>
                  <a:lnTo>
                    <a:pt x="4567" y="1699"/>
                  </a:lnTo>
                  <a:lnTo>
                    <a:pt x="4589" y="1696"/>
                  </a:lnTo>
                  <a:lnTo>
                    <a:pt x="4608" y="1691"/>
                  </a:lnTo>
                  <a:lnTo>
                    <a:pt x="4627" y="1684"/>
                  </a:lnTo>
                  <a:lnTo>
                    <a:pt x="4645" y="1677"/>
                  </a:lnTo>
                  <a:lnTo>
                    <a:pt x="4663" y="1667"/>
                  </a:lnTo>
                  <a:lnTo>
                    <a:pt x="4679" y="1657"/>
                  </a:lnTo>
                  <a:lnTo>
                    <a:pt x="4695" y="1646"/>
                  </a:lnTo>
                  <a:lnTo>
                    <a:pt x="4710" y="1633"/>
                  </a:lnTo>
                  <a:lnTo>
                    <a:pt x="4724" y="1619"/>
                  </a:lnTo>
                  <a:lnTo>
                    <a:pt x="4738" y="1604"/>
                  </a:lnTo>
                  <a:lnTo>
                    <a:pt x="4750" y="1588"/>
                  </a:lnTo>
                  <a:lnTo>
                    <a:pt x="4760" y="1571"/>
                  </a:lnTo>
                  <a:lnTo>
                    <a:pt x="4771" y="1554"/>
                  </a:lnTo>
                  <a:lnTo>
                    <a:pt x="4781" y="1535"/>
                  </a:lnTo>
                  <a:lnTo>
                    <a:pt x="4789" y="1516"/>
                  </a:lnTo>
                  <a:lnTo>
                    <a:pt x="4796" y="1495"/>
                  </a:lnTo>
                  <a:lnTo>
                    <a:pt x="4802" y="1474"/>
                  </a:lnTo>
                  <a:lnTo>
                    <a:pt x="4807" y="1453"/>
                  </a:lnTo>
                  <a:lnTo>
                    <a:pt x="4810" y="1430"/>
                  </a:lnTo>
                  <a:lnTo>
                    <a:pt x="4814" y="1408"/>
                  </a:lnTo>
                  <a:lnTo>
                    <a:pt x="4816" y="1384"/>
                  </a:lnTo>
                  <a:lnTo>
                    <a:pt x="4816" y="1361"/>
                  </a:lnTo>
                  <a:lnTo>
                    <a:pt x="4816" y="1336"/>
                  </a:lnTo>
                  <a:lnTo>
                    <a:pt x="4814" y="1314"/>
                  </a:lnTo>
                  <a:lnTo>
                    <a:pt x="4810" y="1290"/>
                  </a:lnTo>
                  <a:lnTo>
                    <a:pt x="4807" y="1269"/>
                  </a:lnTo>
                  <a:lnTo>
                    <a:pt x="4802" y="1248"/>
                  </a:lnTo>
                  <a:lnTo>
                    <a:pt x="4796" y="1226"/>
                  </a:lnTo>
                  <a:lnTo>
                    <a:pt x="4788" y="1206"/>
                  </a:lnTo>
                  <a:lnTo>
                    <a:pt x="4781" y="1187"/>
                  </a:lnTo>
                  <a:lnTo>
                    <a:pt x="4771" y="1168"/>
                  </a:lnTo>
                  <a:lnTo>
                    <a:pt x="4760" y="1151"/>
                  </a:lnTo>
                  <a:lnTo>
                    <a:pt x="4749" y="1134"/>
                  </a:lnTo>
                  <a:lnTo>
                    <a:pt x="4737" y="1119"/>
                  </a:lnTo>
                  <a:lnTo>
                    <a:pt x="4724" y="1104"/>
                  </a:lnTo>
                  <a:lnTo>
                    <a:pt x="4709" y="1090"/>
                  </a:lnTo>
                  <a:lnTo>
                    <a:pt x="4694" y="1077"/>
                  </a:lnTo>
                  <a:lnTo>
                    <a:pt x="4678" y="1065"/>
                  </a:lnTo>
                  <a:close/>
                  <a:moveTo>
                    <a:pt x="4664" y="1476"/>
                  </a:moveTo>
                  <a:lnTo>
                    <a:pt x="4664" y="1476"/>
                  </a:lnTo>
                  <a:lnTo>
                    <a:pt x="4659" y="1489"/>
                  </a:lnTo>
                  <a:lnTo>
                    <a:pt x="4653" y="1501"/>
                  </a:lnTo>
                  <a:lnTo>
                    <a:pt x="4646" y="1512"/>
                  </a:lnTo>
                  <a:lnTo>
                    <a:pt x="4640" y="1523"/>
                  </a:lnTo>
                  <a:lnTo>
                    <a:pt x="4632" y="1533"/>
                  </a:lnTo>
                  <a:lnTo>
                    <a:pt x="4624" y="1542"/>
                  </a:lnTo>
                  <a:lnTo>
                    <a:pt x="4615" y="1551"/>
                  </a:lnTo>
                  <a:lnTo>
                    <a:pt x="4606" y="1558"/>
                  </a:lnTo>
                  <a:lnTo>
                    <a:pt x="4595" y="1566"/>
                  </a:lnTo>
                  <a:lnTo>
                    <a:pt x="4584" y="1572"/>
                  </a:lnTo>
                  <a:lnTo>
                    <a:pt x="4574" y="1578"/>
                  </a:lnTo>
                  <a:lnTo>
                    <a:pt x="4561" y="1582"/>
                  </a:lnTo>
                  <a:lnTo>
                    <a:pt x="4549" y="1585"/>
                  </a:lnTo>
                  <a:lnTo>
                    <a:pt x="4535" y="1587"/>
                  </a:lnTo>
                  <a:lnTo>
                    <a:pt x="4521" y="1588"/>
                  </a:lnTo>
                  <a:lnTo>
                    <a:pt x="4506" y="1589"/>
                  </a:lnTo>
                  <a:lnTo>
                    <a:pt x="4492" y="1588"/>
                  </a:lnTo>
                  <a:lnTo>
                    <a:pt x="4478" y="1587"/>
                  </a:lnTo>
                  <a:lnTo>
                    <a:pt x="4464" y="1585"/>
                  </a:lnTo>
                  <a:lnTo>
                    <a:pt x="4451" y="1582"/>
                  </a:lnTo>
                  <a:lnTo>
                    <a:pt x="4439" y="1578"/>
                  </a:lnTo>
                  <a:lnTo>
                    <a:pt x="4428" y="1572"/>
                  </a:lnTo>
                  <a:lnTo>
                    <a:pt x="4417" y="1567"/>
                  </a:lnTo>
                  <a:lnTo>
                    <a:pt x="4406" y="1559"/>
                  </a:lnTo>
                  <a:lnTo>
                    <a:pt x="4397" y="1552"/>
                  </a:lnTo>
                  <a:lnTo>
                    <a:pt x="4388" y="1543"/>
                  </a:lnTo>
                  <a:lnTo>
                    <a:pt x="4381" y="1535"/>
                  </a:lnTo>
                  <a:lnTo>
                    <a:pt x="4373" y="1525"/>
                  </a:lnTo>
                  <a:lnTo>
                    <a:pt x="4366" y="1515"/>
                  </a:lnTo>
                  <a:lnTo>
                    <a:pt x="4360" y="1504"/>
                  </a:lnTo>
                  <a:lnTo>
                    <a:pt x="4355" y="1491"/>
                  </a:lnTo>
                  <a:lnTo>
                    <a:pt x="4350" y="1479"/>
                  </a:lnTo>
                  <a:lnTo>
                    <a:pt x="4345" y="1467"/>
                  </a:lnTo>
                  <a:lnTo>
                    <a:pt x="4342" y="1453"/>
                  </a:lnTo>
                  <a:lnTo>
                    <a:pt x="4339" y="1439"/>
                  </a:lnTo>
                  <a:lnTo>
                    <a:pt x="4336" y="1424"/>
                  </a:lnTo>
                  <a:lnTo>
                    <a:pt x="4335" y="1409"/>
                  </a:lnTo>
                  <a:lnTo>
                    <a:pt x="4333" y="1393"/>
                  </a:lnTo>
                  <a:lnTo>
                    <a:pt x="4333" y="1377"/>
                  </a:lnTo>
                  <a:lnTo>
                    <a:pt x="4332" y="1361"/>
                  </a:lnTo>
                  <a:lnTo>
                    <a:pt x="4333" y="1345"/>
                  </a:lnTo>
                  <a:lnTo>
                    <a:pt x="4333" y="1329"/>
                  </a:lnTo>
                  <a:lnTo>
                    <a:pt x="4335" y="1313"/>
                  </a:lnTo>
                  <a:lnTo>
                    <a:pt x="4337" y="1298"/>
                  </a:lnTo>
                  <a:lnTo>
                    <a:pt x="4339" y="1283"/>
                  </a:lnTo>
                  <a:lnTo>
                    <a:pt x="4342" y="1269"/>
                  </a:lnTo>
                  <a:lnTo>
                    <a:pt x="4345" y="1255"/>
                  </a:lnTo>
                  <a:lnTo>
                    <a:pt x="4350" y="1242"/>
                  </a:lnTo>
                  <a:lnTo>
                    <a:pt x="4355" y="1230"/>
                  </a:lnTo>
                  <a:lnTo>
                    <a:pt x="4360" y="1218"/>
                  </a:lnTo>
                  <a:lnTo>
                    <a:pt x="4367" y="1207"/>
                  </a:lnTo>
                  <a:lnTo>
                    <a:pt x="4373" y="1196"/>
                  </a:lnTo>
                  <a:lnTo>
                    <a:pt x="4381" y="1187"/>
                  </a:lnTo>
                  <a:lnTo>
                    <a:pt x="4388" y="1178"/>
                  </a:lnTo>
                  <a:lnTo>
                    <a:pt x="4397" y="1170"/>
                  </a:lnTo>
                  <a:lnTo>
                    <a:pt x="4406" y="1162"/>
                  </a:lnTo>
                  <a:lnTo>
                    <a:pt x="4416" y="1156"/>
                  </a:lnTo>
                  <a:lnTo>
                    <a:pt x="4426" y="1150"/>
                  </a:lnTo>
                  <a:lnTo>
                    <a:pt x="4437" y="1145"/>
                  </a:lnTo>
                  <a:lnTo>
                    <a:pt x="4449" y="1141"/>
                  </a:lnTo>
                  <a:lnTo>
                    <a:pt x="4462" y="1138"/>
                  </a:lnTo>
                  <a:lnTo>
                    <a:pt x="4474" y="1136"/>
                  </a:lnTo>
                  <a:lnTo>
                    <a:pt x="4488" y="1135"/>
                  </a:lnTo>
                  <a:lnTo>
                    <a:pt x="4502" y="1134"/>
                  </a:lnTo>
                  <a:lnTo>
                    <a:pt x="4518" y="1135"/>
                  </a:lnTo>
                  <a:lnTo>
                    <a:pt x="4532" y="1136"/>
                  </a:lnTo>
                  <a:lnTo>
                    <a:pt x="4546" y="1138"/>
                  </a:lnTo>
                  <a:lnTo>
                    <a:pt x="4559" y="1142"/>
                  </a:lnTo>
                  <a:lnTo>
                    <a:pt x="4572" y="1146"/>
                  </a:lnTo>
                  <a:lnTo>
                    <a:pt x="4583" y="1151"/>
                  </a:lnTo>
                  <a:lnTo>
                    <a:pt x="4594" y="1157"/>
                  </a:lnTo>
                  <a:lnTo>
                    <a:pt x="4605" y="1164"/>
                  </a:lnTo>
                  <a:lnTo>
                    <a:pt x="4614" y="1172"/>
                  </a:lnTo>
                  <a:lnTo>
                    <a:pt x="4624" y="1180"/>
                  </a:lnTo>
                  <a:lnTo>
                    <a:pt x="4631" y="1190"/>
                  </a:lnTo>
                  <a:lnTo>
                    <a:pt x="4640" y="1200"/>
                  </a:lnTo>
                  <a:lnTo>
                    <a:pt x="4646" y="1210"/>
                  </a:lnTo>
                  <a:lnTo>
                    <a:pt x="4653" y="1222"/>
                  </a:lnTo>
                  <a:lnTo>
                    <a:pt x="4659" y="1234"/>
                  </a:lnTo>
                  <a:lnTo>
                    <a:pt x="4664" y="1247"/>
                  </a:lnTo>
                  <a:lnTo>
                    <a:pt x="4669" y="1259"/>
                  </a:lnTo>
                  <a:lnTo>
                    <a:pt x="4673" y="1272"/>
                  </a:lnTo>
                  <a:lnTo>
                    <a:pt x="4676" y="1286"/>
                  </a:lnTo>
                  <a:lnTo>
                    <a:pt x="4678" y="1300"/>
                  </a:lnTo>
                  <a:lnTo>
                    <a:pt x="4680" y="1315"/>
                  </a:lnTo>
                  <a:lnTo>
                    <a:pt x="4682" y="1330"/>
                  </a:lnTo>
                  <a:lnTo>
                    <a:pt x="4684" y="1345"/>
                  </a:lnTo>
                  <a:lnTo>
                    <a:pt x="4684" y="1361"/>
                  </a:lnTo>
                  <a:lnTo>
                    <a:pt x="4684" y="1377"/>
                  </a:lnTo>
                  <a:lnTo>
                    <a:pt x="4682" y="1392"/>
                  </a:lnTo>
                  <a:lnTo>
                    <a:pt x="4680" y="1407"/>
                  </a:lnTo>
                  <a:lnTo>
                    <a:pt x="4678" y="1422"/>
                  </a:lnTo>
                  <a:lnTo>
                    <a:pt x="4676" y="1436"/>
                  </a:lnTo>
                  <a:lnTo>
                    <a:pt x="4673" y="1449"/>
                  </a:lnTo>
                  <a:lnTo>
                    <a:pt x="4669" y="1463"/>
                  </a:lnTo>
                  <a:lnTo>
                    <a:pt x="4664" y="1476"/>
                  </a:lnTo>
                  <a:close/>
                  <a:moveTo>
                    <a:pt x="5438" y="1144"/>
                  </a:moveTo>
                  <a:lnTo>
                    <a:pt x="5429" y="1128"/>
                  </a:lnTo>
                  <a:lnTo>
                    <a:pt x="5421" y="1114"/>
                  </a:lnTo>
                  <a:lnTo>
                    <a:pt x="5410" y="1102"/>
                  </a:lnTo>
                  <a:lnTo>
                    <a:pt x="5399" y="1089"/>
                  </a:lnTo>
                  <a:lnTo>
                    <a:pt x="5386" y="1078"/>
                  </a:lnTo>
                  <a:lnTo>
                    <a:pt x="5374" y="1067"/>
                  </a:lnTo>
                  <a:lnTo>
                    <a:pt x="5359" y="1059"/>
                  </a:lnTo>
                  <a:lnTo>
                    <a:pt x="5343" y="1050"/>
                  </a:lnTo>
                  <a:lnTo>
                    <a:pt x="5327" y="1044"/>
                  </a:lnTo>
                  <a:lnTo>
                    <a:pt x="5310" y="1037"/>
                  </a:lnTo>
                  <a:lnTo>
                    <a:pt x="5292" y="1032"/>
                  </a:lnTo>
                  <a:lnTo>
                    <a:pt x="5273" y="1029"/>
                  </a:lnTo>
                  <a:lnTo>
                    <a:pt x="5254" y="1026"/>
                  </a:lnTo>
                  <a:lnTo>
                    <a:pt x="5234" y="1023"/>
                  </a:lnTo>
                  <a:lnTo>
                    <a:pt x="5214" y="1021"/>
                  </a:lnTo>
                  <a:lnTo>
                    <a:pt x="5192" y="1021"/>
                  </a:lnTo>
                  <a:lnTo>
                    <a:pt x="5166" y="1021"/>
                  </a:lnTo>
                  <a:lnTo>
                    <a:pt x="5139" y="1024"/>
                  </a:lnTo>
                  <a:lnTo>
                    <a:pt x="5116" y="1028"/>
                  </a:lnTo>
                  <a:lnTo>
                    <a:pt x="5092" y="1033"/>
                  </a:lnTo>
                  <a:lnTo>
                    <a:pt x="5071" y="1041"/>
                  </a:lnTo>
                  <a:lnTo>
                    <a:pt x="5050" y="1048"/>
                  </a:lnTo>
                  <a:lnTo>
                    <a:pt x="5031" y="1059"/>
                  </a:lnTo>
                  <a:lnTo>
                    <a:pt x="5014" y="1071"/>
                  </a:lnTo>
                  <a:lnTo>
                    <a:pt x="4997" y="1082"/>
                  </a:lnTo>
                  <a:lnTo>
                    <a:pt x="4983" y="1096"/>
                  </a:lnTo>
                  <a:lnTo>
                    <a:pt x="4969" y="1111"/>
                  </a:lnTo>
                  <a:lnTo>
                    <a:pt x="4958" y="1127"/>
                  </a:lnTo>
                  <a:lnTo>
                    <a:pt x="4947" y="1144"/>
                  </a:lnTo>
                  <a:lnTo>
                    <a:pt x="4937" y="1162"/>
                  </a:lnTo>
                  <a:lnTo>
                    <a:pt x="4929" y="1182"/>
                  </a:lnTo>
                  <a:lnTo>
                    <a:pt x="4922" y="1202"/>
                  </a:lnTo>
                  <a:lnTo>
                    <a:pt x="5039" y="1238"/>
                  </a:lnTo>
                  <a:lnTo>
                    <a:pt x="5044" y="1224"/>
                  </a:lnTo>
                  <a:lnTo>
                    <a:pt x="5049" y="1213"/>
                  </a:lnTo>
                  <a:lnTo>
                    <a:pt x="5055" y="1202"/>
                  </a:lnTo>
                  <a:lnTo>
                    <a:pt x="5062" y="1191"/>
                  </a:lnTo>
                  <a:lnTo>
                    <a:pt x="5070" y="1182"/>
                  </a:lnTo>
                  <a:lnTo>
                    <a:pt x="5078" y="1174"/>
                  </a:lnTo>
                  <a:lnTo>
                    <a:pt x="5088" y="1167"/>
                  </a:lnTo>
                  <a:lnTo>
                    <a:pt x="5098" y="1160"/>
                  </a:lnTo>
                  <a:lnTo>
                    <a:pt x="5109" y="1155"/>
                  </a:lnTo>
                  <a:lnTo>
                    <a:pt x="5120" y="1150"/>
                  </a:lnTo>
                  <a:lnTo>
                    <a:pt x="5132" y="1145"/>
                  </a:lnTo>
                  <a:lnTo>
                    <a:pt x="5142" y="1142"/>
                  </a:lnTo>
                  <a:lnTo>
                    <a:pt x="5154" y="1140"/>
                  </a:lnTo>
                  <a:lnTo>
                    <a:pt x="5167" y="1138"/>
                  </a:lnTo>
                  <a:lnTo>
                    <a:pt x="5178" y="1137"/>
                  </a:lnTo>
                  <a:lnTo>
                    <a:pt x="5191" y="1137"/>
                  </a:lnTo>
                  <a:lnTo>
                    <a:pt x="5210" y="1137"/>
                  </a:lnTo>
                  <a:lnTo>
                    <a:pt x="5229" y="1139"/>
                  </a:lnTo>
                  <a:lnTo>
                    <a:pt x="5245" y="1141"/>
                  </a:lnTo>
                  <a:lnTo>
                    <a:pt x="5260" y="1145"/>
                  </a:lnTo>
                  <a:lnTo>
                    <a:pt x="5273" y="1151"/>
                  </a:lnTo>
                  <a:lnTo>
                    <a:pt x="5285" y="1157"/>
                  </a:lnTo>
                  <a:lnTo>
                    <a:pt x="5296" y="1164"/>
                  </a:lnTo>
                  <a:lnTo>
                    <a:pt x="5305" y="1173"/>
                  </a:lnTo>
                  <a:lnTo>
                    <a:pt x="5312" y="1182"/>
                  </a:lnTo>
                  <a:lnTo>
                    <a:pt x="5318" y="1191"/>
                  </a:lnTo>
                  <a:lnTo>
                    <a:pt x="5322" y="1202"/>
                  </a:lnTo>
                  <a:lnTo>
                    <a:pt x="5327" y="1213"/>
                  </a:lnTo>
                  <a:lnTo>
                    <a:pt x="5331" y="1225"/>
                  </a:lnTo>
                  <a:lnTo>
                    <a:pt x="5333" y="1238"/>
                  </a:lnTo>
                  <a:lnTo>
                    <a:pt x="5335" y="1252"/>
                  </a:lnTo>
                  <a:lnTo>
                    <a:pt x="5336" y="1267"/>
                  </a:lnTo>
                  <a:lnTo>
                    <a:pt x="5318" y="1269"/>
                  </a:lnTo>
                  <a:lnTo>
                    <a:pt x="5300" y="1272"/>
                  </a:lnTo>
                  <a:lnTo>
                    <a:pt x="5282" y="1274"/>
                  </a:lnTo>
                  <a:lnTo>
                    <a:pt x="5263" y="1278"/>
                  </a:lnTo>
                  <a:lnTo>
                    <a:pt x="5234" y="1282"/>
                  </a:lnTo>
                  <a:lnTo>
                    <a:pt x="5205" y="1286"/>
                  </a:lnTo>
                  <a:lnTo>
                    <a:pt x="5176" y="1290"/>
                  </a:lnTo>
                  <a:lnTo>
                    <a:pt x="5149" y="1295"/>
                  </a:lnTo>
                  <a:lnTo>
                    <a:pt x="5123" y="1300"/>
                  </a:lnTo>
                  <a:lnTo>
                    <a:pt x="5097" y="1305"/>
                  </a:lnTo>
                  <a:lnTo>
                    <a:pt x="5074" y="1311"/>
                  </a:lnTo>
                  <a:lnTo>
                    <a:pt x="5052" y="1317"/>
                  </a:lnTo>
                  <a:lnTo>
                    <a:pt x="5028" y="1326"/>
                  </a:lnTo>
                  <a:lnTo>
                    <a:pt x="5006" y="1336"/>
                  </a:lnTo>
                  <a:lnTo>
                    <a:pt x="4986" y="1347"/>
                  </a:lnTo>
                  <a:lnTo>
                    <a:pt x="4968" y="1360"/>
                  </a:lnTo>
                  <a:lnTo>
                    <a:pt x="4960" y="1366"/>
                  </a:lnTo>
                  <a:lnTo>
                    <a:pt x="4952" y="1373"/>
                  </a:lnTo>
                  <a:lnTo>
                    <a:pt x="4945" y="1380"/>
                  </a:lnTo>
                  <a:lnTo>
                    <a:pt x="4938" y="1389"/>
                  </a:lnTo>
                  <a:lnTo>
                    <a:pt x="4932" y="1396"/>
                  </a:lnTo>
                  <a:lnTo>
                    <a:pt x="4927" y="1405"/>
                  </a:lnTo>
                  <a:lnTo>
                    <a:pt x="4921" y="1413"/>
                  </a:lnTo>
                  <a:lnTo>
                    <a:pt x="4917" y="1423"/>
                  </a:lnTo>
                  <a:lnTo>
                    <a:pt x="4913" y="1431"/>
                  </a:lnTo>
                  <a:lnTo>
                    <a:pt x="4910" y="1442"/>
                  </a:lnTo>
                  <a:lnTo>
                    <a:pt x="4906" y="1452"/>
                  </a:lnTo>
                  <a:lnTo>
                    <a:pt x="4904" y="1462"/>
                  </a:lnTo>
                  <a:lnTo>
                    <a:pt x="4902" y="1473"/>
                  </a:lnTo>
                  <a:lnTo>
                    <a:pt x="4900" y="1485"/>
                  </a:lnTo>
                  <a:lnTo>
                    <a:pt x="4900" y="1496"/>
                  </a:lnTo>
                  <a:lnTo>
                    <a:pt x="4899" y="1508"/>
                  </a:lnTo>
                  <a:lnTo>
                    <a:pt x="4900" y="1521"/>
                  </a:lnTo>
                  <a:lnTo>
                    <a:pt x="4901" y="1534"/>
                  </a:lnTo>
                  <a:lnTo>
                    <a:pt x="4903" y="1547"/>
                  </a:lnTo>
                  <a:lnTo>
                    <a:pt x="4905" y="1558"/>
                  </a:lnTo>
                  <a:lnTo>
                    <a:pt x="4909" y="1571"/>
                  </a:lnTo>
                  <a:lnTo>
                    <a:pt x="4913" y="1582"/>
                  </a:lnTo>
                  <a:lnTo>
                    <a:pt x="4918" y="1594"/>
                  </a:lnTo>
                  <a:lnTo>
                    <a:pt x="4925" y="1605"/>
                  </a:lnTo>
                  <a:lnTo>
                    <a:pt x="4931" y="1616"/>
                  </a:lnTo>
                  <a:lnTo>
                    <a:pt x="4938" y="1626"/>
                  </a:lnTo>
                  <a:lnTo>
                    <a:pt x="4946" y="1635"/>
                  </a:lnTo>
                  <a:lnTo>
                    <a:pt x="4954" y="1645"/>
                  </a:lnTo>
                  <a:lnTo>
                    <a:pt x="4964" y="1653"/>
                  </a:lnTo>
                  <a:lnTo>
                    <a:pt x="4975" y="1661"/>
                  </a:lnTo>
                  <a:lnTo>
                    <a:pt x="4985" y="1668"/>
                  </a:lnTo>
                  <a:lnTo>
                    <a:pt x="4997" y="1676"/>
                  </a:lnTo>
                  <a:lnTo>
                    <a:pt x="5010" y="1681"/>
                  </a:lnTo>
                  <a:lnTo>
                    <a:pt x="5023" y="1686"/>
                  </a:lnTo>
                  <a:lnTo>
                    <a:pt x="5037" y="1692"/>
                  </a:lnTo>
                  <a:lnTo>
                    <a:pt x="5052" y="1695"/>
                  </a:lnTo>
                  <a:lnTo>
                    <a:pt x="5066" y="1698"/>
                  </a:lnTo>
                  <a:lnTo>
                    <a:pt x="5082" y="1700"/>
                  </a:lnTo>
                  <a:lnTo>
                    <a:pt x="5100" y="1701"/>
                  </a:lnTo>
                  <a:lnTo>
                    <a:pt x="5118" y="1701"/>
                  </a:lnTo>
                  <a:lnTo>
                    <a:pt x="5139" y="1701"/>
                  </a:lnTo>
                  <a:lnTo>
                    <a:pt x="5160" y="1699"/>
                  </a:lnTo>
                  <a:lnTo>
                    <a:pt x="5181" y="1697"/>
                  </a:lnTo>
                  <a:lnTo>
                    <a:pt x="5200" y="1693"/>
                  </a:lnTo>
                  <a:lnTo>
                    <a:pt x="5219" y="1687"/>
                  </a:lnTo>
                  <a:lnTo>
                    <a:pt x="5236" y="1681"/>
                  </a:lnTo>
                  <a:lnTo>
                    <a:pt x="5253" y="1675"/>
                  </a:lnTo>
                  <a:lnTo>
                    <a:pt x="5269" y="1666"/>
                  </a:lnTo>
                  <a:lnTo>
                    <a:pt x="5281" y="1659"/>
                  </a:lnTo>
                  <a:lnTo>
                    <a:pt x="5292" y="1651"/>
                  </a:lnTo>
                  <a:lnTo>
                    <a:pt x="5302" y="1643"/>
                  </a:lnTo>
                  <a:lnTo>
                    <a:pt x="5313" y="1633"/>
                  </a:lnTo>
                  <a:lnTo>
                    <a:pt x="5322" y="1623"/>
                  </a:lnTo>
                  <a:lnTo>
                    <a:pt x="5332" y="1613"/>
                  </a:lnTo>
                  <a:lnTo>
                    <a:pt x="5341" y="1602"/>
                  </a:lnTo>
                  <a:lnTo>
                    <a:pt x="5349" y="1590"/>
                  </a:lnTo>
                  <a:lnTo>
                    <a:pt x="5349" y="1684"/>
                  </a:lnTo>
                  <a:lnTo>
                    <a:pt x="5460" y="1684"/>
                  </a:lnTo>
                  <a:lnTo>
                    <a:pt x="5460" y="1287"/>
                  </a:lnTo>
                  <a:lnTo>
                    <a:pt x="5460" y="1267"/>
                  </a:lnTo>
                  <a:lnTo>
                    <a:pt x="5459" y="1248"/>
                  </a:lnTo>
                  <a:lnTo>
                    <a:pt x="5458" y="1229"/>
                  </a:lnTo>
                  <a:lnTo>
                    <a:pt x="5456" y="1211"/>
                  </a:lnTo>
                  <a:lnTo>
                    <a:pt x="5454" y="1193"/>
                  </a:lnTo>
                  <a:lnTo>
                    <a:pt x="5449" y="1176"/>
                  </a:lnTo>
                  <a:lnTo>
                    <a:pt x="5444" y="1160"/>
                  </a:lnTo>
                  <a:lnTo>
                    <a:pt x="5438" y="1144"/>
                  </a:lnTo>
                  <a:close/>
                  <a:moveTo>
                    <a:pt x="5322" y="1472"/>
                  </a:moveTo>
                  <a:lnTo>
                    <a:pt x="5322" y="1472"/>
                  </a:lnTo>
                  <a:lnTo>
                    <a:pt x="5318" y="1488"/>
                  </a:lnTo>
                  <a:lnTo>
                    <a:pt x="5312" y="1503"/>
                  </a:lnTo>
                  <a:lnTo>
                    <a:pt x="5303" y="1518"/>
                  </a:lnTo>
                  <a:lnTo>
                    <a:pt x="5293" y="1533"/>
                  </a:lnTo>
                  <a:lnTo>
                    <a:pt x="5286" y="1540"/>
                  </a:lnTo>
                  <a:lnTo>
                    <a:pt x="5280" y="1547"/>
                  </a:lnTo>
                  <a:lnTo>
                    <a:pt x="5272" y="1553"/>
                  </a:lnTo>
                  <a:lnTo>
                    <a:pt x="5265" y="1559"/>
                  </a:lnTo>
                  <a:lnTo>
                    <a:pt x="5249" y="1571"/>
                  </a:lnTo>
                  <a:lnTo>
                    <a:pt x="5231" y="1581"/>
                  </a:lnTo>
                  <a:lnTo>
                    <a:pt x="5221" y="1585"/>
                  </a:lnTo>
                  <a:lnTo>
                    <a:pt x="5210" y="1589"/>
                  </a:lnTo>
                  <a:lnTo>
                    <a:pt x="5200" y="1592"/>
                  </a:lnTo>
                  <a:lnTo>
                    <a:pt x="5189" y="1595"/>
                  </a:lnTo>
                  <a:lnTo>
                    <a:pt x="5177" y="1597"/>
                  </a:lnTo>
                  <a:lnTo>
                    <a:pt x="5165" y="1599"/>
                  </a:lnTo>
                  <a:lnTo>
                    <a:pt x="5153" y="1600"/>
                  </a:lnTo>
                  <a:lnTo>
                    <a:pt x="5139" y="1600"/>
                  </a:lnTo>
                  <a:lnTo>
                    <a:pt x="5120" y="1599"/>
                  </a:lnTo>
                  <a:lnTo>
                    <a:pt x="5103" y="1597"/>
                  </a:lnTo>
                  <a:lnTo>
                    <a:pt x="5088" y="1592"/>
                  </a:lnTo>
                  <a:lnTo>
                    <a:pt x="5074" y="1587"/>
                  </a:lnTo>
                  <a:lnTo>
                    <a:pt x="5062" y="1581"/>
                  </a:lnTo>
                  <a:lnTo>
                    <a:pt x="5052" y="1572"/>
                  </a:lnTo>
                  <a:lnTo>
                    <a:pt x="5043" y="1564"/>
                  </a:lnTo>
                  <a:lnTo>
                    <a:pt x="5036" y="1553"/>
                  </a:lnTo>
                  <a:lnTo>
                    <a:pt x="5030" y="1542"/>
                  </a:lnTo>
                  <a:lnTo>
                    <a:pt x="5026" y="1532"/>
                  </a:lnTo>
                  <a:lnTo>
                    <a:pt x="5024" y="1520"/>
                  </a:lnTo>
                  <a:lnTo>
                    <a:pt x="5023" y="1507"/>
                  </a:lnTo>
                  <a:lnTo>
                    <a:pt x="5024" y="1494"/>
                  </a:lnTo>
                  <a:lnTo>
                    <a:pt x="5026" y="1484"/>
                  </a:lnTo>
                  <a:lnTo>
                    <a:pt x="5029" y="1473"/>
                  </a:lnTo>
                  <a:lnTo>
                    <a:pt x="5034" y="1463"/>
                  </a:lnTo>
                  <a:lnTo>
                    <a:pt x="5041" y="1455"/>
                  </a:lnTo>
                  <a:lnTo>
                    <a:pt x="5048" y="1447"/>
                  </a:lnTo>
                  <a:lnTo>
                    <a:pt x="5057" y="1440"/>
                  </a:lnTo>
                  <a:lnTo>
                    <a:pt x="5066" y="1433"/>
                  </a:lnTo>
                  <a:lnTo>
                    <a:pt x="5077" y="1427"/>
                  </a:lnTo>
                  <a:lnTo>
                    <a:pt x="5088" y="1422"/>
                  </a:lnTo>
                  <a:lnTo>
                    <a:pt x="5100" y="1416"/>
                  </a:lnTo>
                  <a:lnTo>
                    <a:pt x="5112" y="1412"/>
                  </a:lnTo>
                  <a:lnTo>
                    <a:pt x="5127" y="1407"/>
                  </a:lnTo>
                  <a:lnTo>
                    <a:pt x="5144" y="1402"/>
                  </a:lnTo>
                  <a:lnTo>
                    <a:pt x="5162" y="1399"/>
                  </a:lnTo>
                  <a:lnTo>
                    <a:pt x="5182" y="1395"/>
                  </a:lnTo>
                  <a:lnTo>
                    <a:pt x="5202" y="1392"/>
                  </a:lnTo>
                  <a:lnTo>
                    <a:pt x="5223" y="1389"/>
                  </a:lnTo>
                  <a:lnTo>
                    <a:pt x="5246" y="1384"/>
                  </a:lnTo>
                  <a:lnTo>
                    <a:pt x="5269" y="1381"/>
                  </a:lnTo>
                  <a:lnTo>
                    <a:pt x="5285" y="1379"/>
                  </a:lnTo>
                  <a:lnTo>
                    <a:pt x="5301" y="1377"/>
                  </a:lnTo>
                  <a:lnTo>
                    <a:pt x="5318" y="1374"/>
                  </a:lnTo>
                  <a:lnTo>
                    <a:pt x="5335" y="1372"/>
                  </a:lnTo>
                  <a:lnTo>
                    <a:pt x="5335" y="1379"/>
                  </a:lnTo>
                  <a:lnTo>
                    <a:pt x="5335" y="1389"/>
                  </a:lnTo>
                  <a:lnTo>
                    <a:pt x="5334" y="1397"/>
                  </a:lnTo>
                  <a:lnTo>
                    <a:pt x="5334" y="1408"/>
                  </a:lnTo>
                  <a:lnTo>
                    <a:pt x="5333" y="1425"/>
                  </a:lnTo>
                  <a:lnTo>
                    <a:pt x="5331" y="1442"/>
                  </a:lnTo>
                  <a:lnTo>
                    <a:pt x="5327" y="1457"/>
                  </a:lnTo>
                  <a:lnTo>
                    <a:pt x="5322" y="1472"/>
                  </a:lnTo>
                  <a:close/>
                  <a:moveTo>
                    <a:pt x="6146" y="1039"/>
                  </a:moveTo>
                  <a:lnTo>
                    <a:pt x="6021" y="1039"/>
                  </a:lnTo>
                  <a:lnTo>
                    <a:pt x="6021" y="1566"/>
                  </a:lnTo>
                  <a:lnTo>
                    <a:pt x="5728" y="1566"/>
                  </a:lnTo>
                  <a:lnTo>
                    <a:pt x="5728" y="1039"/>
                  </a:lnTo>
                  <a:lnTo>
                    <a:pt x="5603" y="1039"/>
                  </a:lnTo>
                  <a:lnTo>
                    <a:pt x="5603" y="1684"/>
                  </a:lnTo>
                  <a:lnTo>
                    <a:pt x="6147" y="1684"/>
                  </a:lnTo>
                  <a:lnTo>
                    <a:pt x="6147" y="1811"/>
                  </a:lnTo>
                  <a:lnTo>
                    <a:pt x="6272" y="1811"/>
                  </a:lnTo>
                  <a:lnTo>
                    <a:pt x="6272" y="1571"/>
                  </a:lnTo>
                  <a:lnTo>
                    <a:pt x="6146" y="1571"/>
                  </a:lnTo>
                  <a:lnTo>
                    <a:pt x="6146" y="1039"/>
                  </a:lnTo>
                  <a:close/>
                  <a:moveTo>
                    <a:pt x="6475" y="1478"/>
                  </a:moveTo>
                  <a:lnTo>
                    <a:pt x="6475" y="1039"/>
                  </a:lnTo>
                  <a:lnTo>
                    <a:pt x="6355" y="1039"/>
                  </a:lnTo>
                  <a:lnTo>
                    <a:pt x="6355" y="1684"/>
                  </a:lnTo>
                  <a:lnTo>
                    <a:pt x="6456" y="1684"/>
                  </a:lnTo>
                  <a:lnTo>
                    <a:pt x="6778" y="1235"/>
                  </a:lnTo>
                  <a:lnTo>
                    <a:pt x="6778" y="1684"/>
                  </a:lnTo>
                  <a:lnTo>
                    <a:pt x="6899" y="1684"/>
                  </a:lnTo>
                  <a:lnTo>
                    <a:pt x="6899" y="1039"/>
                  </a:lnTo>
                  <a:lnTo>
                    <a:pt x="6798" y="1039"/>
                  </a:lnTo>
                  <a:lnTo>
                    <a:pt x="6475" y="1478"/>
                  </a:lnTo>
                  <a:close/>
                  <a:moveTo>
                    <a:pt x="7315" y="1039"/>
                  </a:moveTo>
                  <a:lnTo>
                    <a:pt x="7303" y="1039"/>
                  </a:lnTo>
                  <a:lnTo>
                    <a:pt x="7290" y="1040"/>
                  </a:lnTo>
                  <a:lnTo>
                    <a:pt x="7277" y="1040"/>
                  </a:lnTo>
                  <a:lnTo>
                    <a:pt x="7261" y="1040"/>
                  </a:lnTo>
                  <a:lnTo>
                    <a:pt x="7245" y="1041"/>
                  </a:lnTo>
                  <a:lnTo>
                    <a:pt x="7230" y="1043"/>
                  </a:lnTo>
                  <a:lnTo>
                    <a:pt x="7214" y="1045"/>
                  </a:lnTo>
                  <a:lnTo>
                    <a:pt x="7199" y="1048"/>
                  </a:lnTo>
                  <a:lnTo>
                    <a:pt x="7182" y="1052"/>
                  </a:lnTo>
                  <a:lnTo>
                    <a:pt x="7165" y="1058"/>
                  </a:lnTo>
                  <a:lnTo>
                    <a:pt x="7149" y="1064"/>
                  </a:lnTo>
                  <a:lnTo>
                    <a:pt x="7135" y="1072"/>
                  </a:lnTo>
                  <a:lnTo>
                    <a:pt x="7120" y="1081"/>
                  </a:lnTo>
                  <a:lnTo>
                    <a:pt x="7107" y="1091"/>
                  </a:lnTo>
                  <a:lnTo>
                    <a:pt x="7094" y="1103"/>
                  </a:lnTo>
                  <a:lnTo>
                    <a:pt x="7082" y="1114"/>
                  </a:lnTo>
                  <a:lnTo>
                    <a:pt x="7072" y="1128"/>
                  </a:lnTo>
                  <a:lnTo>
                    <a:pt x="7062" y="1142"/>
                  </a:lnTo>
                  <a:lnTo>
                    <a:pt x="7055" y="1158"/>
                  </a:lnTo>
                  <a:lnTo>
                    <a:pt x="7048" y="1174"/>
                  </a:lnTo>
                  <a:lnTo>
                    <a:pt x="7043" y="1192"/>
                  </a:lnTo>
                  <a:lnTo>
                    <a:pt x="7040" y="1210"/>
                  </a:lnTo>
                  <a:lnTo>
                    <a:pt x="7038" y="1231"/>
                  </a:lnTo>
                  <a:lnTo>
                    <a:pt x="7037" y="1251"/>
                  </a:lnTo>
                  <a:lnTo>
                    <a:pt x="7038" y="1272"/>
                  </a:lnTo>
                  <a:lnTo>
                    <a:pt x="7040" y="1293"/>
                  </a:lnTo>
                  <a:lnTo>
                    <a:pt x="7043" y="1312"/>
                  </a:lnTo>
                  <a:lnTo>
                    <a:pt x="7048" y="1329"/>
                  </a:lnTo>
                  <a:lnTo>
                    <a:pt x="7056" y="1346"/>
                  </a:lnTo>
                  <a:lnTo>
                    <a:pt x="7064" y="1361"/>
                  </a:lnTo>
                  <a:lnTo>
                    <a:pt x="7074" y="1376"/>
                  </a:lnTo>
                  <a:lnTo>
                    <a:pt x="7085" y="1389"/>
                  </a:lnTo>
                  <a:lnTo>
                    <a:pt x="7094" y="1398"/>
                  </a:lnTo>
                  <a:lnTo>
                    <a:pt x="7104" y="1406"/>
                  </a:lnTo>
                  <a:lnTo>
                    <a:pt x="7114" y="1414"/>
                  </a:lnTo>
                  <a:lnTo>
                    <a:pt x="7125" y="1421"/>
                  </a:lnTo>
                  <a:lnTo>
                    <a:pt x="7136" y="1427"/>
                  </a:lnTo>
                  <a:lnTo>
                    <a:pt x="7147" y="1433"/>
                  </a:lnTo>
                  <a:lnTo>
                    <a:pt x="7159" y="1439"/>
                  </a:lnTo>
                  <a:lnTo>
                    <a:pt x="7172" y="1443"/>
                  </a:lnTo>
                  <a:lnTo>
                    <a:pt x="7018" y="1684"/>
                  </a:lnTo>
                  <a:lnTo>
                    <a:pt x="7152" y="1684"/>
                  </a:lnTo>
                  <a:lnTo>
                    <a:pt x="7294" y="1459"/>
                  </a:lnTo>
                  <a:lnTo>
                    <a:pt x="7306" y="1460"/>
                  </a:lnTo>
                  <a:lnTo>
                    <a:pt x="7318" y="1460"/>
                  </a:lnTo>
                  <a:lnTo>
                    <a:pt x="7446" y="1460"/>
                  </a:lnTo>
                  <a:lnTo>
                    <a:pt x="7446" y="1684"/>
                  </a:lnTo>
                  <a:lnTo>
                    <a:pt x="7571" y="1684"/>
                  </a:lnTo>
                  <a:lnTo>
                    <a:pt x="7571" y="1039"/>
                  </a:lnTo>
                  <a:lnTo>
                    <a:pt x="7315" y="1039"/>
                  </a:lnTo>
                  <a:close/>
                  <a:moveTo>
                    <a:pt x="7446" y="1360"/>
                  </a:moveTo>
                  <a:lnTo>
                    <a:pt x="7446" y="1360"/>
                  </a:lnTo>
                  <a:lnTo>
                    <a:pt x="7307" y="1360"/>
                  </a:lnTo>
                  <a:lnTo>
                    <a:pt x="7294" y="1360"/>
                  </a:lnTo>
                  <a:lnTo>
                    <a:pt x="7278" y="1359"/>
                  </a:lnTo>
                  <a:lnTo>
                    <a:pt x="7269" y="1358"/>
                  </a:lnTo>
                  <a:lnTo>
                    <a:pt x="7261" y="1357"/>
                  </a:lnTo>
                  <a:lnTo>
                    <a:pt x="7252" y="1354"/>
                  </a:lnTo>
                  <a:lnTo>
                    <a:pt x="7243" y="1352"/>
                  </a:lnTo>
                  <a:lnTo>
                    <a:pt x="7235" y="1350"/>
                  </a:lnTo>
                  <a:lnTo>
                    <a:pt x="7227" y="1347"/>
                  </a:lnTo>
                  <a:lnTo>
                    <a:pt x="7220" y="1344"/>
                  </a:lnTo>
                  <a:lnTo>
                    <a:pt x="7214" y="1340"/>
                  </a:lnTo>
                  <a:lnTo>
                    <a:pt x="7206" y="1335"/>
                  </a:lnTo>
                  <a:lnTo>
                    <a:pt x="7200" y="1330"/>
                  </a:lnTo>
                  <a:lnTo>
                    <a:pt x="7193" y="1324"/>
                  </a:lnTo>
                  <a:lnTo>
                    <a:pt x="7188" y="1317"/>
                  </a:lnTo>
                  <a:lnTo>
                    <a:pt x="7183" y="1311"/>
                  </a:lnTo>
                  <a:lnTo>
                    <a:pt x="7177" y="1303"/>
                  </a:lnTo>
                  <a:lnTo>
                    <a:pt x="7173" y="1296"/>
                  </a:lnTo>
                  <a:lnTo>
                    <a:pt x="7170" y="1287"/>
                  </a:lnTo>
                  <a:lnTo>
                    <a:pt x="7168" y="1279"/>
                  </a:lnTo>
                  <a:lnTo>
                    <a:pt x="7166" y="1269"/>
                  </a:lnTo>
                  <a:lnTo>
                    <a:pt x="7165" y="1259"/>
                  </a:lnTo>
                  <a:lnTo>
                    <a:pt x="7165" y="1250"/>
                  </a:lnTo>
                  <a:lnTo>
                    <a:pt x="7165" y="1236"/>
                  </a:lnTo>
                  <a:lnTo>
                    <a:pt x="7167" y="1224"/>
                  </a:lnTo>
                  <a:lnTo>
                    <a:pt x="7171" y="1213"/>
                  </a:lnTo>
                  <a:lnTo>
                    <a:pt x="7175" y="1201"/>
                  </a:lnTo>
                  <a:lnTo>
                    <a:pt x="7181" y="1191"/>
                  </a:lnTo>
                  <a:lnTo>
                    <a:pt x="7187" y="1182"/>
                  </a:lnTo>
                  <a:lnTo>
                    <a:pt x="7194" y="1173"/>
                  </a:lnTo>
                  <a:lnTo>
                    <a:pt x="7203" y="1167"/>
                  </a:lnTo>
                  <a:lnTo>
                    <a:pt x="7211" y="1160"/>
                  </a:lnTo>
                  <a:lnTo>
                    <a:pt x="7220" y="1155"/>
                  </a:lnTo>
                  <a:lnTo>
                    <a:pt x="7230" y="1151"/>
                  </a:lnTo>
                  <a:lnTo>
                    <a:pt x="7238" y="1147"/>
                  </a:lnTo>
                  <a:lnTo>
                    <a:pt x="7248" y="1144"/>
                  </a:lnTo>
                  <a:lnTo>
                    <a:pt x="7256" y="1143"/>
                  </a:lnTo>
                  <a:lnTo>
                    <a:pt x="7266" y="1141"/>
                  </a:lnTo>
                  <a:lnTo>
                    <a:pt x="7275" y="1141"/>
                  </a:lnTo>
                  <a:lnTo>
                    <a:pt x="7285" y="1140"/>
                  </a:lnTo>
                  <a:lnTo>
                    <a:pt x="7293" y="1140"/>
                  </a:lnTo>
                  <a:lnTo>
                    <a:pt x="7301" y="1139"/>
                  </a:lnTo>
                  <a:lnTo>
                    <a:pt x="7307" y="1139"/>
                  </a:lnTo>
                  <a:lnTo>
                    <a:pt x="7446" y="1139"/>
                  </a:lnTo>
                  <a:lnTo>
                    <a:pt x="7446" y="1360"/>
                  </a:lnTo>
                  <a:close/>
                  <a:moveTo>
                    <a:pt x="1070" y="2556"/>
                  </a:moveTo>
                  <a:lnTo>
                    <a:pt x="758" y="1848"/>
                  </a:lnTo>
                  <a:lnTo>
                    <a:pt x="645" y="1825"/>
                  </a:lnTo>
                  <a:lnTo>
                    <a:pt x="645" y="2684"/>
                  </a:lnTo>
                  <a:lnTo>
                    <a:pt x="763" y="2708"/>
                  </a:lnTo>
                  <a:lnTo>
                    <a:pt x="763" y="2120"/>
                  </a:lnTo>
                  <a:lnTo>
                    <a:pt x="1041" y="2763"/>
                  </a:lnTo>
                  <a:lnTo>
                    <a:pt x="1098" y="2775"/>
                  </a:lnTo>
                  <a:lnTo>
                    <a:pt x="1375" y="2241"/>
                  </a:lnTo>
                  <a:lnTo>
                    <a:pt x="1375" y="2830"/>
                  </a:lnTo>
                  <a:lnTo>
                    <a:pt x="1493" y="2853"/>
                  </a:lnTo>
                  <a:lnTo>
                    <a:pt x="1493" y="1994"/>
                  </a:lnTo>
                  <a:lnTo>
                    <a:pt x="1379" y="1970"/>
                  </a:lnTo>
                  <a:lnTo>
                    <a:pt x="1070" y="2556"/>
                  </a:lnTo>
                  <a:close/>
                  <a:moveTo>
                    <a:pt x="1855" y="2207"/>
                  </a:moveTo>
                  <a:lnTo>
                    <a:pt x="1871" y="2201"/>
                  </a:lnTo>
                  <a:lnTo>
                    <a:pt x="1887" y="2196"/>
                  </a:lnTo>
                  <a:lnTo>
                    <a:pt x="1905" y="2192"/>
                  </a:lnTo>
                  <a:lnTo>
                    <a:pt x="1923" y="2190"/>
                  </a:lnTo>
                  <a:lnTo>
                    <a:pt x="1943" y="2189"/>
                  </a:lnTo>
                  <a:lnTo>
                    <a:pt x="1964" y="2190"/>
                  </a:lnTo>
                  <a:lnTo>
                    <a:pt x="1985" y="2192"/>
                  </a:lnTo>
                  <a:lnTo>
                    <a:pt x="2007" y="2197"/>
                  </a:lnTo>
                  <a:lnTo>
                    <a:pt x="2032" y="2202"/>
                  </a:lnTo>
                  <a:lnTo>
                    <a:pt x="2055" y="2209"/>
                  </a:lnTo>
                  <a:lnTo>
                    <a:pt x="2079" y="2218"/>
                  </a:lnTo>
                  <a:lnTo>
                    <a:pt x="2100" y="2228"/>
                  </a:lnTo>
                  <a:lnTo>
                    <a:pt x="2120" y="2239"/>
                  </a:lnTo>
                  <a:lnTo>
                    <a:pt x="2139" y="2251"/>
                  </a:lnTo>
                  <a:lnTo>
                    <a:pt x="2157" y="2265"/>
                  </a:lnTo>
                  <a:lnTo>
                    <a:pt x="2174" y="2281"/>
                  </a:lnTo>
                  <a:lnTo>
                    <a:pt x="2189" y="2297"/>
                  </a:lnTo>
                  <a:lnTo>
                    <a:pt x="2203" y="2315"/>
                  </a:lnTo>
                  <a:lnTo>
                    <a:pt x="2216" y="2333"/>
                  </a:lnTo>
                  <a:lnTo>
                    <a:pt x="2228" y="2352"/>
                  </a:lnTo>
                  <a:lnTo>
                    <a:pt x="2239" y="2373"/>
                  </a:lnTo>
                  <a:lnTo>
                    <a:pt x="2247" y="2394"/>
                  </a:lnTo>
                  <a:lnTo>
                    <a:pt x="2256" y="2416"/>
                  </a:lnTo>
                  <a:lnTo>
                    <a:pt x="2262" y="2440"/>
                  </a:lnTo>
                  <a:lnTo>
                    <a:pt x="2389" y="2431"/>
                  </a:lnTo>
                  <a:lnTo>
                    <a:pt x="2384" y="2414"/>
                  </a:lnTo>
                  <a:lnTo>
                    <a:pt x="2379" y="2398"/>
                  </a:lnTo>
                  <a:lnTo>
                    <a:pt x="2373" y="2382"/>
                  </a:lnTo>
                  <a:lnTo>
                    <a:pt x="2367" y="2366"/>
                  </a:lnTo>
                  <a:lnTo>
                    <a:pt x="2359" y="2350"/>
                  </a:lnTo>
                  <a:lnTo>
                    <a:pt x="2352" y="2335"/>
                  </a:lnTo>
                  <a:lnTo>
                    <a:pt x="2344" y="2320"/>
                  </a:lnTo>
                  <a:lnTo>
                    <a:pt x="2336" y="2307"/>
                  </a:lnTo>
                  <a:lnTo>
                    <a:pt x="2327" y="2292"/>
                  </a:lnTo>
                  <a:lnTo>
                    <a:pt x="2318" y="2278"/>
                  </a:lnTo>
                  <a:lnTo>
                    <a:pt x="2308" y="2265"/>
                  </a:lnTo>
                  <a:lnTo>
                    <a:pt x="2299" y="2251"/>
                  </a:lnTo>
                  <a:lnTo>
                    <a:pt x="2288" y="2238"/>
                  </a:lnTo>
                  <a:lnTo>
                    <a:pt x="2277" y="2225"/>
                  </a:lnTo>
                  <a:lnTo>
                    <a:pt x="2266" y="2214"/>
                  </a:lnTo>
                  <a:lnTo>
                    <a:pt x="2254" y="2202"/>
                  </a:lnTo>
                  <a:lnTo>
                    <a:pt x="2241" y="2190"/>
                  </a:lnTo>
                  <a:lnTo>
                    <a:pt x="2228" y="2178"/>
                  </a:lnTo>
                  <a:lnTo>
                    <a:pt x="2215" y="2169"/>
                  </a:lnTo>
                  <a:lnTo>
                    <a:pt x="2202" y="2158"/>
                  </a:lnTo>
                  <a:lnTo>
                    <a:pt x="2188" y="2149"/>
                  </a:lnTo>
                  <a:lnTo>
                    <a:pt x="2173" y="2140"/>
                  </a:lnTo>
                  <a:lnTo>
                    <a:pt x="2158" y="2131"/>
                  </a:lnTo>
                  <a:lnTo>
                    <a:pt x="2143" y="2123"/>
                  </a:lnTo>
                  <a:lnTo>
                    <a:pt x="2128" y="2115"/>
                  </a:lnTo>
                  <a:lnTo>
                    <a:pt x="2112" y="2109"/>
                  </a:lnTo>
                  <a:lnTo>
                    <a:pt x="2095" y="2103"/>
                  </a:lnTo>
                  <a:lnTo>
                    <a:pt x="2078" y="2096"/>
                  </a:lnTo>
                  <a:lnTo>
                    <a:pt x="2061" y="2091"/>
                  </a:lnTo>
                  <a:lnTo>
                    <a:pt x="2044" y="2086"/>
                  </a:lnTo>
                  <a:lnTo>
                    <a:pt x="2026" y="2081"/>
                  </a:lnTo>
                  <a:lnTo>
                    <a:pt x="2007" y="2077"/>
                  </a:lnTo>
                  <a:lnTo>
                    <a:pt x="1975" y="2072"/>
                  </a:lnTo>
                  <a:lnTo>
                    <a:pt x="1946" y="2069"/>
                  </a:lnTo>
                  <a:lnTo>
                    <a:pt x="1916" y="2067"/>
                  </a:lnTo>
                  <a:lnTo>
                    <a:pt x="1888" y="2067"/>
                  </a:lnTo>
                  <a:lnTo>
                    <a:pt x="1874" y="2069"/>
                  </a:lnTo>
                  <a:lnTo>
                    <a:pt x="1861" y="2071"/>
                  </a:lnTo>
                  <a:lnTo>
                    <a:pt x="1847" y="2073"/>
                  </a:lnTo>
                  <a:lnTo>
                    <a:pt x="1836" y="2075"/>
                  </a:lnTo>
                  <a:lnTo>
                    <a:pt x="1823" y="2078"/>
                  </a:lnTo>
                  <a:lnTo>
                    <a:pt x="1811" y="2081"/>
                  </a:lnTo>
                  <a:lnTo>
                    <a:pt x="1799" y="2086"/>
                  </a:lnTo>
                  <a:lnTo>
                    <a:pt x="1788" y="2090"/>
                  </a:lnTo>
                  <a:lnTo>
                    <a:pt x="1765" y="2101"/>
                  </a:lnTo>
                  <a:lnTo>
                    <a:pt x="1745" y="2112"/>
                  </a:lnTo>
                  <a:lnTo>
                    <a:pt x="1726" y="2126"/>
                  </a:lnTo>
                  <a:lnTo>
                    <a:pt x="1708" y="2142"/>
                  </a:lnTo>
                  <a:lnTo>
                    <a:pt x="1691" y="2159"/>
                  </a:lnTo>
                  <a:lnTo>
                    <a:pt x="1676" y="2177"/>
                  </a:lnTo>
                  <a:lnTo>
                    <a:pt x="1662" y="2198"/>
                  </a:lnTo>
                  <a:lnTo>
                    <a:pt x="1649" y="2220"/>
                  </a:lnTo>
                  <a:lnTo>
                    <a:pt x="1637" y="2244"/>
                  </a:lnTo>
                  <a:lnTo>
                    <a:pt x="1628" y="2268"/>
                  </a:lnTo>
                  <a:lnTo>
                    <a:pt x="1619" y="2295"/>
                  </a:lnTo>
                  <a:lnTo>
                    <a:pt x="1613" y="2321"/>
                  </a:lnTo>
                  <a:lnTo>
                    <a:pt x="1607" y="2350"/>
                  </a:lnTo>
                  <a:lnTo>
                    <a:pt x="1604" y="2380"/>
                  </a:lnTo>
                  <a:lnTo>
                    <a:pt x="1601" y="2412"/>
                  </a:lnTo>
                  <a:lnTo>
                    <a:pt x="1601" y="2444"/>
                  </a:lnTo>
                  <a:lnTo>
                    <a:pt x="1601" y="2477"/>
                  </a:lnTo>
                  <a:lnTo>
                    <a:pt x="1604" y="2509"/>
                  </a:lnTo>
                  <a:lnTo>
                    <a:pt x="1607" y="2541"/>
                  </a:lnTo>
                  <a:lnTo>
                    <a:pt x="1613" y="2572"/>
                  </a:lnTo>
                  <a:lnTo>
                    <a:pt x="1619" y="2602"/>
                  </a:lnTo>
                  <a:lnTo>
                    <a:pt x="1628" y="2632"/>
                  </a:lnTo>
                  <a:lnTo>
                    <a:pt x="1637" y="2660"/>
                  </a:lnTo>
                  <a:lnTo>
                    <a:pt x="1649" y="2689"/>
                  </a:lnTo>
                  <a:lnTo>
                    <a:pt x="1662" y="2715"/>
                  </a:lnTo>
                  <a:lnTo>
                    <a:pt x="1676" y="2741"/>
                  </a:lnTo>
                  <a:lnTo>
                    <a:pt x="1691" y="2767"/>
                  </a:lnTo>
                  <a:lnTo>
                    <a:pt x="1708" y="2790"/>
                  </a:lnTo>
                  <a:lnTo>
                    <a:pt x="1726" y="2812"/>
                  </a:lnTo>
                  <a:lnTo>
                    <a:pt x="1745" y="2834"/>
                  </a:lnTo>
                  <a:lnTo>
                    <a:pt x="1765" y="2854"/>
                  </a:lnTo>
                  <a:lnTo>
                    <a:pt x="1788" y="2873"/>
                  </a:lnTo>
                  <a:lnTo>
                    <a:pt x="1811" y="2891"/>
                  </a:lnTo>
                  <a:lnTo>
                    <a:pt x="1836" y="2907"/>
                  </a:lnTo>
                  <a:lnTo>
                    <a:pt x="1861" y="2922"/>
                  </a:lnTo>
                  <a:lnTo>
                    <a:pt x="1888" y="2935"/>
                  </a:lnTo>
                  <a:lnTo>
                    <a:pt x="1916" y="2947"/>
                  </a:lnTo>
                  <a:lnTo>
                    <a:pt x="1946" y="2958"/>
                  </a:lnTo>
                  <a:lnTo>
                    <a:pt x="1975" y="2966"/>
                  </a:lnTo>
                  <a:lnTo>
                    <a:pt x="2007" y="2974"/>
                  </a:lnTo>
                  <a:lnTo>
                    <a:pt x="2026" y="2977"/>
                  </a:lnTo>
                  <a:lnTo>
                    <a:pt x="2044" y="2979"/>
                  </a:lnTo>
                  <a:lnTo>
                    <a:pt x="2061" y="2981"/>
                  </a:lnTo>
                  <a:lnTo>
                    <a:pt x="2078" y="2982"/>
                  </a:lnTo>
                  <a:lnTo>
                    <a:pt x="2095" y="2983"/>
                  </a:lnTo>
                  <a:lnTo>
                    <a:pt x="2112" y="2983"/>
                  </a:lnTo>
                  <a:lnTo>
                    <a:pt x="2128" y="2983"/>
                  </a:lnTo>
                  <a:lnTo>
                    <a:pt x="2143" y="2981"/>
                  </a:lnTo>
                  <a:lnTo>
                    <a:pt x="2158" y="2979"/>
                  </a:lnTo>
                  <a:lnTo>
                    <a:pt x="2173" y="2977"/>
                  </a:lnTo>
                  <a:lnTo>
                    <a:pt x="2188" y="2974"/>
                  </a:lnTo>
                  <a:lnTo>
                    <a:pt x="2202" y="2969"/>
                  </a:lnTo>
                  <a:lnTo>
                    <a:pt x="2215" y="2965"/>
                  </a:lnTo>
                  <a:lnTo>
                    <a:pt x="2228" y="2960"/>
                  </a:lnTo>
                  <a:lnTo>
                    <a:pt x="2241" y="2953"/>
                  </a:lnTo>
                  <a:lnTo>
                    <a:pt x="2254" y="2947"/>
                  </a:lnTo>
                  <a:lnTo>
                    <a:pt x="2266" y="2939"/>
                  </a:lnTo>
                  <a:lnTo>
                    <a:pt x="2277" y="2932"/>
                  </a:lnTo>
                  <a:lnTo>
                    <a:pt x="2288" y="2923"/>
                  </a:lnTo>
                  <a:lnTo>
                    <a:pt x="2299" y="2915"/>
                  </a:lnTo>
                  <a:lnTo>
                    <a:pt x="2308" y="2905"/>
                  </a:lnTo>
                  <a:lnTo>
                    <a:pt x="2318" y="2896"/>
                  </a:lnTo>
                  <a:lnTo>
                    <a:pt x="2327" y="2886"/>
                  </a:lnTo>
                  <a:lnTo>
                    <a:pt x="2336" y="2875"/>
                  </a:lnTo>
                  <a:lnTo>
                    <a:pt x="2344" y="2864"/>
                  </a:lnTo>
                  <a:lnTo>
                    <a:pt x="2352" y="2852"/>
                  </a:lnTo>
                  <a:lnTo>
                    <a:pt x="2359" y="2840"/>
                  </a:lnTo>
                  <a:lnTo>
                    <a:pt x="2367" y="2827"/>
                  </a:lnTo>
                  <a:lnTo>
                    <a:pt x="2373" y="2814"/>
                  </a:lnTo>
                  <a:lnTo>
                    <a:pt x="2379" y="2801"/>
                  </a:lnTo>
                  <a:lnTo>
                    <a:pt x="2384" y="2786"/>
                  </a:lnTo>
                  <a:lnTo>
                    <a:pt x="2389" y="2772"/>
                  </a:lnTo>
                  <a:lnTo>
                    <a:pt x="2262" y="2712"/>
                  </a:lnTo>
                  <a:lnTo>
                    <a:pt x="2256" y="2732"/>
                  </a:lnTo>
                  <a:lnTo>
                    <a:pt x="2247" y="2752"/>
                  </a:lnTo>
                  <a:lnTo>
                    <a:pt x="2239" y="2770"/>
                  </a:lnTo>
                  <a:lnTo>
                    <a:pt x="2228" y="2786"/>
                  </a:lnTo>
                  <a:lnTo>
                    <a:pt x="2216" y="2800"/>
                  </a:lnTo>
                  <a:lnTo>
                    <a:pt x="2203" y="2814"/>
                  </a:lnTo>
                  <a:lnTo>
                    <a:pt x="2189" y="2825"/>
                  </a:lnTo>
                  <a:lnTo>
                    <a:pt x="2174" y="2836"/>
                  </a:lnTo>
                  <a:lnTo>
                    <a:pt x="2165" y="2840"/>
                  </a:lnTo>
                  <a:lnTo>
                    <a:pt x="2157" y="2844"/>
                  </a:lnTo>
                  <a:lnTo>
                    <a:pt x="2148" y="2849"/>
                  </a:lnTo>
                  <a:lnTo>
                    <a:pt x="2139" y="2852"/>
                  </a:lnTo>
                  <a:lnTo>
                    <a:pt x="2120" y="2856"/>
                  </a:lnTo>
                  <a:lnTo>
                    <a:pt x="2100" y="2859"/>
                  </a:lnTo>
                  <a:lnTo>
                    <a:pt x="2079" y="2862"/>
                  </a:lnTo>
                  <a:lnTo>
                    <a:pt x="2055" y="2860"/>
                  </a:lnTo>
                  <a:lnTo>
                    <a:pt x="2032" y="2858"/>
                  </a:lnTo>
                  <a:lnTo>
                    <a:pt x="2007" y="2854"/>
                  </a:lnTo>
                  <a:lnTo>
                    <a:pt x="1985" y="2850"/>
                  </a:lnTo>
                  <a:lnTo>
                    <a:pt x="1964" y="2843"/>
                  </a:lnTo>
                  <a:lnTo>
                    <a:pt x="1943" y="2836"/>
                  </a:lnTo>
                  <a:lnTo>
                    <a:pt x="1923" y="2827"/>
                  </a:lnTo>
                  <a:lnTo>
                    <a:pt x="1905" y="2818"/>
                  </a:lnTo>
                  <a:lnTo>
                    <a:pt x="1887" y="2807"/>
                  </a:lnTo>
                  <a:lnTo>
                    <a:pt x="1871" y="2795"/>
                  </a:lnTo>
                  <a:lnTo>
                    <a:pt x="1855" y="2783"/>
                  </a:lnTo>
                  <a:lnTo>
                    <a:pt x="1840" y="2769"/>
                  </a:lnTo>
                  <a:lnTo>
                    <a:pt x="1826" y="2755"/>
                  </a:lnTo>
                  <a:lnTo>
                    <a:pt x="1813" y="2739"/>
                  </a:lnTo>
                  <a:lnTo>
                    <a:pt x="1802" y="2723"/>
                  </a:lnTo>
                  <a:lnTo>
                    <a:pt x="1790" y="2706"/>
                  </a:lnTo>
                  <a:lnTo>
                    <a:pt x="1780" y="2688"/>
                  </a:lnTo>
                  <a:lnTo>
                    <a:pt x="1771" y="2669"/>
                  </a:lnTo>
                  <a:lnTo>
                    <a:pt x="1763" y="2649"/>
                  </a:lnTo>
                  <a:lnTo>
                    <a:pt x="1756" y="2629"/>
                  </a:lnTo>
                  <a:lnTo>
                    <a:pt x="1749" y="2609"/>
                  </a:lnTo>
                  <a:lnTo>
                    <a:pt x="1744" y="2586"/>
                  </a:lnTo>
                  <a:lnTo>
                    <a:pt x="1740" y="2565"/>
                  </a:lnTo>
                  <a:lnTo>
                    <a:pt x="1736" y="2542"/>
                  </a:lnTo>
                  <a:lnTo>
                    <a:pt x="1734" y="2519"/>
                  </a:lnTo>
                  <a:lnTo>
                    <a:pt x="1733" y="2495"/>
                  </a:lnTo>
                  <a:lnTo>
                    <a:pt x="1732" y="2471"/>
                  </a:lnTo>
                  <a:lnTo>
                    <a:pt x="1733" y="2446"/>
                  </a:lnTo>
                  <a:lnTo>
                    <a:pt x="1734" y="2424"/>
                  </a:lnTo>
                  <a:lnTo>
                    <a:pt x="1736" y="2402"/>
                  </a:lnTo>
                  <a:lnTo>
                    <a:pt x="1741" y="2380"/>
                  </a:lnTo>
                  <a:lnTo>
                    <a:pt x="1745" y="2360"/>
                  </a:lnTo>
                  <a:lnTo>
                    <a:pt x="1750" y="2341"/>
                  </a:lnTo>
                  <a:lnTo>
                    <a:pt x="1756" y="2321"/>
                  </a:lnTo>
                  <a:lnTo>
                    <a:pt x="1763" y="2304"/>
                  </a:lnTo>
                  <a:lnTo>
                    <a:pt x="1772" y="2288"/>
                  </a:lnTo>
                  <a:lnTo>
                    <a:pt x="1780" y="2272"/>
                  </a:lnTo>
                  <a:lnTo>
                    <a:pt x="1791" y="2259"/>
                  </a:lnTo>
                  <a:lnTo>
                    <a:pt x="1802" y="2246"/>
                  </a:lnTo>
                  <a:lnTo>
                    <a:pt x="1813" y="2235"/>
                  </a:lnTo>
                  <a:lnTo>
                    <a:pt x="1826" y="2224"/>
                  </a:lnTo>
                  <a:lnTo>
                    <a:pt x="1840" y="2215"/>
                  </a:lnTo>
                  <a:lnTo>
                    <a:pt x="1855" y="2207"/>
                  </a:lnTo>
                  <a:close/>
                  <a:moveTo>
                    <a:pt x="2633" y="2337"/>
                  </a:moveTo>
                  <a:lnTo>
                    <a:pt x="3068" y="2424"/>
                  </a:lnTo>
                  <a:lnTo>
                    <a:pt x="3068" y="3166"/>
                  </a:lnTo>
                  <a:lnTo>
                    <a:pt x="3192" y="3190"/>
                  </a:lnTo>
                  <a:lnTo>
                    <a:pt x="3192" y="2331"/>
                  </a:lnTo>
                  <a:lnTo>
                    <a:pt x="2509" y="2194"/>
                  </a:lnTo>
                  <a:lnTo>
                    <a:pt x="2509" y="3055"/>
                  </a:lnTo>
                  <a:lnTo>
                    <a:pt x="2633" y="3079"/>
                  </a:lnTo>
                  <a:lnTo>
                    <a:pt x="2633" y="2337"/>
                  </a:lnTo>
                  <a:close/>
                  <a:moveTo>
                    <a:pt x="2659" y="535"/>
                  </a:moveTo>
                  <a:lnTo>
                    <a:pt x="0" y="0"/>
                  </a:lnTo>
                  <a:lnTo>
                    <a:pt x="0" y="2523"/>
                  </a:lnTo>
                  <a:lnTo>
                    <a:pt x="106" y="2547"/>
                  </a:lnTo>
                  <a:lnTo>
                    <a:pt x="106" y="133"/>
                  </a:lnTo>
                  <a:lnTo>
                    <a:pt x="2655" y="640"/>
                  </a:lnTo>
                  <a:lnTo>
                    <a:pt x="2659" y="535"/>
                  </a:lnTo>
                  <a:close/>
                  <a:moveTo>
                    <a:pt x="3762" y="3829"/>
                  </a:moveTo>
                  <a:lnTo>
                    <a:pt x="2555" y="3588"/>
                  </a:lnTo>
                  <a:lnTo>
                    <a:pt x="2555" y="3693"/>
                  </a:lnTo>
                  <a:lnTo>
                    <a:pt x="3868" y="3962"/>
                  </a:lnTo>
                  <a:lnTo>
                    <a:pt x="3868" y="2715"/>
                  </a:lnTo>
                  <a:lnTo>
                    <a:pt x="3762" y="2688"/>
                  </a:lnTo>
                  <a:lnTo>
                    <a:pt x="3762" y="38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11">
              <a:extLst>
                <a:ext uri="{FF2B5EF4-FFF2-40B4-BE49-F238E27FC236}">
                  <a16:creationId xmlns:a16="http://schemas.microsoft.com/office/drawing/2014/main" id="{B1E15F3F-12B1-8793-B06D-0B207881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08833" y="378561"/>
              <a:ext cx="1033529" cy="219288"/>
            </a:xfrm>
            <a:custGeom>
              <a:avLst/>
              <a:gdLst>
                <a:gd name="T0" fmla="*/ 1171 w 16100"/>
                <a:gd name="T1" fmla="*/ 712 h 3416"/>
                <a:gd name="T2" fmla="*/ 1871 w 16100"/>
                <a:gd name="T3" fmla="*/ 1146 h 3416"/>
                <a:gd name="T4" fmla="*/ 2109 w 16100"/>
                <a:gd name="T5" fmla="*/ 843 h 3416"/>
                <a:gd name="T6" fmla="*/ 2496 w 16100"/>
                <a:gd name="T7" fmla="*/ 697 h 3416"/>
                <a:gd name="T8" fmla="*/ 2840 w 16100"/>
                <a:gd name="T9" fmla="*/ 718 h 3416"/>
                <a:gd name="T10" fmla="*/ 3069 w 16100"/>
                <a:gd name="T11" fmla="*/ 832 h 3416"/>
                <a:gd name="T12" fmla="*/ 3243 w 16100"/>
                <a:gd name="T13" fmla="*/ 1027 h 3416"/>
                <a:gd name="T14" fmla="*/ 2781 w 16100"/>
                <a:gd name="T15" fmla="*/ 985 h 3416"/>
                <a:gd name="T16" fmla="*/ 2544 w 16100"/>
                <a:gd name="T17" fmla="*/ 956 h 3416"/>
                <a:gd name="T18" fmla="*/ 2315 w 16100"/>
                <a:gd name="T19" fmla="*/ 1050 h 3416"/>
                <a:gd name="T20" fmla="*/ 2178 w 16100"/>
                <a:gd name="T21" fmla="*/ 1244 h 3416"/>
                <a:gd name="T22" fmla="*/ 2159 w 16100"/>
                <a:gd name="T23" fmla="*/ 1499 h 3416"/>
                <a:gd name="T24" fmla="*/ 2267 w 16100"/>
                <a:gd name="T25" fmla="*/ 1714 h 3416"/>
                <a:gd name="T26" fmla="*/ 2474 w 16100"/>
                <a:gd name="T27" fmla="*/ 1839 h 3416"/>
                <a:gd name="T28" fmla="*/ 2755 w 16100"/>
                <a:gd name="T29" fmla="*/ 1834 h 3416"/>
                <a:gd name="T30" fmla="*/ 2969 w 16100"/>
                <a:gd name="T31" fmla="*/ 1657 h 3416"/>
                <a:gd name="T32" fmla="*/ 3085 w 16100"/>
                <a:gd name="T33" fmla="*/ 1963 h 3416"/>
                <a:gd name="T34" fmla="*/ 2864 w 16100"/>
                <a:gd name="T35" fmla="*/ 2083 h 3416"/>
                <a:gd name="T36" fmla="*/ 2536 w 16100"/>
                <a:gd name="T37" fmla="*/ 2116 h 3416"/>
                <a:gd name="T38" fmla="*/ 2139 w 16100"/>
                <a:gd name="T39" fmla="*/ 1986 h 3416"/>
                <a:gd name="T40" fmla="*/ 1885 w 16100"/>
                <a:gd name="T41" fmla="*/ 1695 h 3416"/>
                <a:gd name="T42" fmla="*/ 3731 w 16100"/>
                <a:gd name="T43" fmla="*/ 971 h 3416"/>
                <a:gd name="T44" fmla="*/ 6287 w 16100"/>
                <a:gd name="T45" fmla="*/ 1216 h 3416"/>
                <a:gd name="T46" fmla="*/ 6564 w 16100"/>
                <a:gd name="T47" fmla="*/ 1280 h 3416"/>
                <a:gd name="T48" fmla="*/ 6732 w 16100"/>
                <a:gd name="T49" fmla="*/ 1447 h 3416"/>
                <a:gd name="T50" fmla="*/ 6782 w 16100"/>
                <a:gd name="T51" fmla="*/ 1677 h 3416"/>
                <a:gd name="T52" fmla="*/ 6710 w 16100"/>
                <a:gd name="T53" fmla="*/ 1899 h 3416"/>
                <a:gd name="T54" fmla="*/ 6523 w 16100"/>
                <a:gd name="T55" fmla="*/ 2050 h 3416"/>
                <a:gd name="T56" fmla="*/ 5582 w 16100"/>
                <a:gd name="T57" fmla="*/ 712 h 3416"/>
                <a:gd name="T58" fmla="*/ 6367 w 16100"/>
                <a:gd name="T59" fmla="*/ 1807 h 3416"/>
                <a:gd name="T60" fmla="*/ 6451 w 16100"/>
                <a:gd name="T61" fmla="*/ 1703 h 3416"/>
                <a:gd name="T62" fmla="*/ 6448 w 16100"/>
                <a:gd name="T63" fmla="*/ 1597 h 3416"/>
                <a:gd name="T64" fmla="*/ 6348 w 16100"/>
                <a:gd name="T65" fmla="*/ 1494 h 3416"/>
                <a:gd name="T66" fmla="*/ 7555 w 16100"/>
                <a:gd name="T67" fmla="*/ 2033 h 3416"/>
                <a:gd name="T68" fmla="*/ 7311 w 16100"/>
                <a:gd name="T69" fmla="*/ 2117 h 3416"/>
                <a:gd name="T70" fmla="*/ 7111 w 16100"/>
                <a:gd name="T71" fmla="*/ 2094 h 3416"/>
                <a:gd name="T72" fmla="*/ 6957 w 16100"/>
                <a:gd name="T73" fmla="*/ 1991 h 3416"/>
                <a:gd name="T74" fmla="*/ 6884 w 16100"/>
                <a:gd name="T75" fmla="*/ 1808 h 3416"/>
                <a:gd name="T76" fmla="*/ 6936 w 16100"/>
                <a:gd name="T77" fmla="*/ 1609 h 3416"/>
                <a:gd name="T78" fmla="*/ 7080 w 16100"/>
                <a:gd name="T79" fmla="*/ 1499 h 3416"/>
                <a:gd name="T80" fmla="*/ 7259 w 16100"/>
                <a:gd name="T81" fmla="*/ 1465 h 3416"/>
                <a:gd name="T82" fmla="*/ 7520 w 16100"/>
                <a:gd name="T83" fmla="*/ 1523 h 3416"/>
                <a:gd name="T84" fmla="*/ 7595 w 16100"/>
                <a:gd name="T85" fmla="*/ 1407 h 3416"/>
                <a:gd name="T86" fmla="*/ 7503 w 16100"/>
                <a:gd name="T87" fmla="*/ 1310 h 3416"/>
                <a:gd name="T88" fmla="*/ 7258 w 16100"/>
                <a:gd name="T89" fmla="*/ 1296 h 3416"/>
                <a:gd name="T90" fmla="*/ 7049 w 16100"/>
                <a:gd name="T91" fmla="*/ 1402 h 3416"/>
                <a:gd name="T92" fmla="*/ 7224 w 16100"/>
                <a:gd name="T93" fmla="*/ 1090 h 3416"/>
                <a:gd name="T94" fmla="*/ 7527 w 16100"/>
                <a:gd name="T95" fmla="*/ 1076 h 3416"/>
                <a:gd name="T96" fmla="*/ 7742 w 16100"/>
                <a:gd name="T97" fmla="*/ 1150 h 3416"/>
                <a:gd name="T98" fmla="*/ 7871 w 16100"/>
                <a:gd name="T99" fmla="*/ 1326 h 3416"/>
                <a:gd name="T100" fmla="*/ 7592 w 16100"/>
                <a:gd name="T101" fmla="*/ 1720 h 3416"/>
                <a:gd name="T102" fmla="*/ 7441 w 16100"/>
                <a:gd name="T103" fmla="*/ 1648 h 3416"/>
                <a:gd name="T104" fmla="*/ 7244 w 16100"/>
                <a:gd name="T105" fmla="*/ 1672 h 3416"/>
                <a:gd name="T106" fmla="*/ 7172 w 16100"/>
                <a:gd name="T107" fmla="*/ 1776 h 3416"/>
                <a:gd name="T108" fmla="*/ 7195 w 16100"/>
                <a:gd name="T109" fmla="*/ 1870 h 3416"/>
                <a:gd name="T110" fmla="*/ 7374 w 16100"/>
                <a:gd name="T111" fmla="*/ 1941 h 3416"/>
                <a:gd name="T112" fmla="*/ 7547 w 16100"/>
                <a:gd name="T113" fmla="*/ 1900 h 3416"/>
                <a:gd name="T114" fmla="*/ 8878 w 16100"/>
                <a:gd name="T115" fmla="*/ 1094 h 3416"/>
                <a:gd name="T116" fmla="*/ 9709 w 16100"/>
                <a:gd name="T117" fmla="*/ 2095 h 3416"/>
                <a:gd name="T118" fmla="*/ 13892 w 16100"/>
                <a:gd name="T119" fmla="*/ 3416 h 3416"/>
                <a:gd name="T120" fmla="*/ 14648 w 16100"/>
                <a:gd name="T121" fmla="*/ 1078 h 3416"/>
                <a:gd name="T122" fmla="*/ 13021 w 16100"/>
                <a:gd name="T123" fmla="*/ 1191 h 3416"/>
                <a:gd name="T124" fmla="*/ 10883 w 16100"/>
                <a:gd name="T125" fmla="*/ 0 h 3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00" h="3416">
                  <a:moveTo>
                    <a:pt x="1299" y="2095"/>
                  </a:moveTo>
                  <a:lnTo>
                    <a:pt x="1299" y="1127"/>
                  </a:lnTo>
                  <a:lnTo>
                    <a:pt x="878" y="2095"/>
                  </a:lnTo>
                  <a:lnTo>
                    <a:pt x="739" y="2095"/>
                  </a:lnTo>
                  <a:lnTo>
                    <a:pt x="318" y="1127"/>
                  </a:lnTo>
                  <a:lnTo>
                    <a:pt x="318" y="2095"/>
                  </a:lnTo>
                  <a:lnTo>
                    <a:pt x="0" y="2095"/>
                  </a:lnTo>
                  <a:lnTo>
                    <a:pt x="0" y="712"/>
                  </a:lnTo>
                  <a:lnTo>
                    <a:pt x="446" y="712"/>
                  </a:lnTo>
                  <a:lnTo>
                    <a:pt x="808" y="1547"/>
                  </a:lnTo>
                  <a:lnTo>
                    <a:pt x="1171" y="712"/>
                  </a:lnTo>
                  <a:lnTo>
                    <a:pt x="1619" y="712"/>
                  </a:lnTo>
                  <a:lnTo>
                    <a:pt x="1619" y="2095"/>
                  </a:lnTo>
                  <a:lnTo>
                    <a:pt x="1299" y="2095"/>
                  </a:lnTo>
                  <a:close/>
                  <a:moveTo>
                    <a:pt x="1823" y="1404"/>
                  </a:moveTo>
                  <a:lnTo>
                    <a:pt x="1824" y="1365"/>
                  </a:lnTo>
                  <a:lnTo>
                    <a:pt x="1827" y="1326"/>
                  </a:lnTo>
                  <a:lnTo>
                    <a:pt x="1832" y="1288"/>
                  </a:lnTo>
                  <a:lnTo>
                    <a:pt x="1838" y="1252"/>
                  </a:lnTo>
                  <a:lnTo>
                    <a:pt x="1847" y="1216"/>
                  </a:lnTo>
                  <a:lnTo>
                    <a:pt x="1859" y="1180"/>
                  </a:lnTo>
                  <a:lnTo>
                    <a:pt x="1871" y="1146"/>
                  </a:lnTo>
                  <a:lnTo>
                    <a:pt x="1885" y="1113"/>
                  </a:lnTo>
                  <a:lnTo>
                    <a:pt x="1900" y="1082"/>
                  </a:lnTo>
                  <a:lnTo>
                    <a:pt x="1917" y="1050"/>
                  </a:lnTo>
                  <a:lnTo>
                    <a:pt x="1936" y="1020"/>
                  </a:lnTo>
                  <a:lnTo>
                    <a:pt x="1957" y="991"/>
                  </a:lnTo>
                  <a:lnTo>
                    <a:pt x="1978" y="964"/>
                  </a:lnTo>
                  <a:lnTo>
                    <a:pt x="2001" y="936"/>
                  </a:lnTo>
                  <a:lnTo>
                    <a:pt x="2027" y="911"/>
                  </a:lnTo>
                  <a:lnTo>
                    <a:pt x="2053" y="887"/>
                  </a:lnTo>
                  <a:lnTo>
                    <a:pt x="2080" y="864"/>
                  </a:lnTo>
                  <a:lnTo>
                    <a:pt x="2109" y="843"/>
                  </a:lnTo>
                  <a:lnTo>
                    <a:pt x="2139" y="823"/>
                  </a:lnTo>
                  <a:lnTo>
                    <a:pt x="2169" y="803"/>
                  </a:lnTo>
                  <a:lnTo>
                    <a:pt x="2202" y="785"/>
                  </a:lnTo>
                  <a:lnTo>
                    <a:pt x="2236" y="769"/>
                  </a:lnTo>
                  <a:lnTo>
                    <a:pt x="2270" y="754"/>
                  </a:lnTo>
                  <a:lnTo>
                    <a:pt x="2305" y="741"/>
                  </a:lnTo>
                  <a:lnTo>
                    <a:pt x="2342" y="729"/>
                  </a:lnTo>
                  <a:lnTo>
                    <a:pt x="2379" y="719"/>
                  </a:lnTo>
                  <a:lnTo>
                    <a:pt x="2417" y="710"/>
                  </a:lnTo>
                  <a:lnTo>
                    <a:pt x="2455" y="703"/>
                  </a:lnTo>
                  <a:lnTo>
                    <a:pt x="2496" y="697"/>
                  </a:lnTo>
                  <a:lnTo>
                    <a:pt x="2536" y="692"/>
                  </a:lnTo>
                  <a:lnTo>
                    <a:pt x="2577" y="689"/>
                  </a:lnTo>
                  <a:lnTo>
                    <a:pt x="2618" y="689"/>
                  </a:lnTo>
                  <a:lnTo>
                    <a:pt x="2648" y="689"/>
                  </a:lnTo>
                  <a:lnTo>
                    <a:pt x="2679" y="690"/>
                  </a:lnTo>
                  <a:lnTo>
                    <a:pt x="2707" y="693"/>
                  </a:lnTo>
                  <a:lnTo>
                    <a:pt x="2735" y="697"/>
                  </a:lnTo>
                  <a:lnTo>
                    <a:pt x="2762" y="701"/>
                  </a:lnTo>
                  <a:lnTo>
                    <a:pt x="2789" y="706"/>
                  </a:lnTo>
                  <a:lnTo>
                    <a:pt x="2814" y="712"/>
                  </a:lnTo>
                  <a:lnTo>
                    <a:pt x="2840" y="718"/>
                  </a:lnTo>
                  <a:lnTo>
                    <a:pt x="2865" y="725"/>
                  </a:lnTo>
                  <a:lnTo>
                    <a:pt x="2888" y="733"/>
                  </a:lnTo>
                  <a:lnTo>
                    <a:pt x="2911" y="742"/>
                  </a:lnTo>
                  <a:lnTo>
                    <a:pt x="2933" y="751"/>
                  </a:lnTo>
                  <a:lnTo>
                    <a:pt x="2954" y="761"/>
                  </a:lnTo>
                  <a:lnTo>
                    <a:pt x="2975" y="771"/>
                  </a:lnTo>
                  <a:lnTo>
                    <a:pt x="2996" y="782"/>
                  </a:lnTo>
                  <a:lnTo>
                    <a:pt x="3015" y="793"/>
                  </a:lnTo>
                  <a:lnTo>
                    <a:pt x="3034" y="805"/>
                  </a:lnTo>
                  <a:lnTo>
                    <a:pt x="3052" y="818"/>
                  </a:lnTo>
                  <a:lnTo>
                    <a:pt x="3069" y="832"/>
                  </a:lnTo>
                  <a:lnTo>
                    <a:pt x="3086" y="845"/>
                  </a:lnTo>
                  <a:lnTo>
                    <a:pt x="3102" y="859"/>
                  </a:lnTo>
                  <a:lnTo>
                    <a:pt x="3118" y="873"/>
                  </a:lnTo>
                  <a:lnTo>
                    <a:pt x="3132" y="887"/>
                  </a:lnTo>
                  <a:lnTo>
                    <a:pt x="3148" y="902"/>
                  </a:lnTo>
                  <a:lnTo>
                    <a:pt x="3162" y="916"/>
                  </a:lnTo>
                  <a:lnTo>
                    <a:pt x="3175" y="932"/>
                  </a:lnTo>
                  <a:lnTo>
                    <a:pt x="3188" y="947"/>
                  </a:lnTo>
                  <a:lnTo>
                    <a:pt x="3200" y="964"/>
                  </a:lnTo>
                  <a:lnTo>
                    <a:pt x="3222" y="995"/>
                  </a:lnTo>
                  <a:lnTo>
                    <a:pt x="3243" y="1027"/>
                  </a:lnTo>
                  <a:lnTo>
                    <a:pt x="2969" y="1152"/>
                  </a:lnTo>
                  <a:lnTo>
                    <a:pt x="2957" y="1131"/>
                  </a:lnTo>
                  <a:lnTo>
                    <a:pt x="2943" y="1111"/>
                  </a:lnTo>
                  <a:lnTo>
                    <a:pt x="2927" y="1092"/>
                  </a:lnTo>
                  <a:lnTo>
                    <a:pt x="2910" y="1073"/>
                  </a:lnTo>
                  <a:lnTo>
                    <a:pt x="2892" y="1055"/>
                  </a:lnTo>
                  <a:lnTo>
                    <a:pt x="2872" y="1039"/>
                  </a:lnTo>
                  <a:lnTo>
                    <a:pt x="2851" y="1023"/>
                  </a:lnTo>
                  <a:lnTo>
                    <a:pt x="2829" y="1009"/>
                  </a:lnTo>
                  <a:lnTo>
                    <a:pt x="2805" y="996"/>
                  </a:lnTo>
                  <a:lnTo>
                    <a:pt x="2781" y="985"/>
                  </a:lnTo>
                  <a:lnTo>
                    <a:pt x="2755" y="975"/>
                  </a:lnTo>
                  <a:lnTo>
                    <a:pt x="2730" y="966"/>
                  </a:lnTo>
                  <a:lnTo>
                    <a:pt x="2703" y="960"/>
                  </a:lnTo>
                  <a:lnTo>
                    <a:pt x="2675" y="955"/>
                  </a:lnTo>
                  <a:lnTo>
                    <a:pt x="2662" y="953"/>
                  </a:lnTo>
                  <a:lnTo>
                    <a:pt x="2647" y="952"/>
                  </a:lnTo>
                  <a:lnTo>
                    <a:pt x="2632" y="951"/>
                  </a:lnTo>
                  <a:lnTo>
                    <a:pt x="2618" y="951"/>
                  </a:lnTo>
                  <a:lnTo>
                    <a:pt x="2593" y="951"/>
                  </a:lnTo>
                  <a:lnTo>
                    <a:pt x="2568" y="953"/>
                  </a:lnTo>
                  <a:lnTo>
                    <a:pt x="2544" y="956"/>
                  </a:lnTo>
                  <a:lnTo>
                    <a:pt x="2521" y="960"/>
                  </a:lnTo>
                  <a:lnTo>
                    <a:pt x="2498" y="964"/>
                  </a:lnTo>
                  <a:lnTo>
                    <a:pt x="2474" y="970"/>
                  </a:lnTo>
                  <a:lnTo>
                    <a:pt x="2452" y="977"/>
                  </a:lnTo>
                  <a:lnTo>
                    <a:pt x="2431" y="985"/>
                  </a:lnTo>
                  <a:lnTo>
                    <a:pt x="2410" y="994"/>
                  </a:lnTo>
                  <a:lnTo>
                    <a:pt x="2390" y="1003"/>
                  </a:lnTo>
                  <a:lnTo>
                    <a:pt x="2370" y="1014"/>
                  </a:lnTo>
                  <a:lnTo>
                    <a:pt x="2352" y="1025"/>
                  </a:lnTo>
                  <a:lnTo>
                    <a:pt x="2332" y="1037"/>
                  </a:lnTo>
                  <a:lnTo>
                    <a:pt x="2315" y="1050"/>
                  </a:lnTo>
                  <a:lnTo>
                    <a:pt x="2298" y="1064"/>
                  </a:lnTo>
                  <a:lnTo>
                    <a:pt x="2282" y="1080"/>
                  </a:lnTo>
                  <a:lnTo>
                    <a:pt x="2267" y="1095"/>
                  </a:lnTo>
                  <a:lnTo>
                    <a:pt x="2253" y="1111"/>
                  </a:lnTo>
                  <a:lnTo>
                    <a:pt x="2240" y="1128"/>
                  </a:lnTo>
                  <a:lnTo>
                    <a:pt x="2227" y="1146"/>
                  </a:lnTo>
                  <a:lnTo>
                    <a:pt x="2215" y="1164"/>
                  </a:lnTo>
                  <a:lnTo>
                    <a:pt x="2205" y="1183"/>
                  </a:lnTo>
                  <a:lnTo>
                    <a:pt x="2195" y="1203"/>
                  </a:lnTo>
                  <a:lnTo>
                    <a:pt x="2186" y="1224"/>
                  </a:lnTo>
                  <a:lnTo>
                    <a:pt x="2178" y="1244"/>
                  </a:lnTo>
                  <a:lnTo>
                    <a:pt x="2170" y="1265"/>
                  </a:lnTo>
                  <a:lnTo>
                    <a:pt x="2164" y="1287"/>
                  </a:lnTo>
                  <a:lnTo>
                    <a:pt x="2159" y="1309"/>
                  </a:lnTo>
                  <a:lnTo>
                    <a:pt x="2155" y="1333"/>
                  </a:lnTo>
                  <a:lnTo>
                    <a:pt x="2152" y="1356"/>
                  </a:lnTo>
                  <a:lnTo>
                    <a:pt x="2150" y="1380"/>
                  </a:lnTo>
                  <a:lnTo>
                    <a:pt x="2150" y="1404"/>
                  </a:lnTo>
                  <a:lnTo>
                    <a:pt x="2150" y="1428"/>
                  </a:lnTo>
                  <a:lnTo>
                    <a:pt x="2152" y="1452"/>
                  </a:lnTo>
                  <a:lnTo>
                    <a:pt x="2155" y="1476"/>
                  </a:lnTo>
                  <a:lnTo>
                    <a:pt x="2159" y="1499"/>
                  </a:lnTo>
                  <a:lnTo>
                    <a:pt x="2164" y="1521"/>
                  </a:lnTo>
                  <a:lnTo>
                    <a:pt x="2170" y="1543"/>
                  </a:lnTo>
                  <a:lnTo>
                    <a:pt x="2178" y="1564"/>
                  </a:lnTo>
                  <a:lnTo>
                    <a:pt x="2186" y="1586"/>
                  </a:lnTo>
                  <a:lnTo>
                    <a:pt x="2195" y="1606"/>
                  </a:lnTo>
                  <a:lnTo>
                    <a:pt x="2205" y="1626"/>
                  </a:lnTo>
                  <a:lnTo>
                    <a:pt x="2215" y="1644"/>
                  </a:lnTo>
                  <a:lnTo>
                    <a:pt x="2227" y="1663"/>
                  </a:lnTo>
                  <a:lnTo>
                    <a:pt x="2240" y="1680"/>
                  </a:lnTo>
                  <a:lnTo>
                    <a:pt x="2253" y="1697"/>
                  </a:lnTo>
                  <a:lnTo>
                    <a:pt x="2267" y="1714"/>
                  </a:lnTo>
                  <a:lnTo>
                    <a:pt x="2282" y="1730"/>
                  </a:lnTo>
                  <a:lnTo>
                    <a:pt x="2298" y="1744"/>
                  </a:lnTo>
                  <a:lnTo>
                    <a:pt x="2315" y="1758"/>
                  </a:lnTo>
                  <a:lnTo>
                    <a:pt x="2332" y="1771"/>
                  </a:lnTo>
                  <a:lnTo>
                    <a:pt x="2352" y="1784"/>
                  </a:lnTo>
                  <a:lnTo>
                    <a:pt x="2370" y="1795"/>
                  </a:lnTo>
                  <a:lnTo>
                    <a:pt x="2390" y="1805"/>
                  </a:lnTo>
                  <a:lnTo>
                    <a:pt x="2410" y="1815"/>
                  </a:lnTo>
                  <a:lnTo>
                    <a:pt x="2431" y="1824"/>
                  </a:lnTo>
                  <a:lnTo>
                    <a:pt x="2452" y="1832"/>
                  </a:lnTo>
                  <a:lnTo>
                    <a:pt x="2474" y="1839"/>
                  </a:lnTo>
                  <a:lnTo>
                    <a:pt x="2498" y="1845"/>
                  </a:lnTo>
                  <a:lnTo>
                    <a:pt x="2521" y="1850"/>
                  </a:lnTo>
                  <a:lnTo>
                    <a:pt x="2544" y="1854"/>
                  </a:lnTo>
                  <a:lnTo>
                    <a:pt x="2568" y="1856"/>
                  </a:lnTo>
                  <a:lnTo>
                    <a:pt x="2593" y="1858"/>
                  </a:lnTo>
                  <a:lnTo>
                    <a:pt x="2618" y="1859"/>
                  </a:lnTo>
                  <a:lnTo>
                    <a:pt x="2647" y="1858"/>
                  </a:lnTo>
                  <a:lnTo>
                    <a:pt x="2675" y="1855"/>
                  </a:lnTo>
                  <a:lnTo>
                    <a:pt x="2703" y="1850"/>
                  </a:lnTo>
                  <a:lnTo>
                    <a:pt x="2730" y="1843"/>
                  </a:lnTo>
                  <a:lnTo>
                    <a:pt x="2755" y="1834"/>
                  </a:lnTo>
                  <a:lnTo>
                    <a:pt x="2781" y="1824"/>
                  </a:lnTo>
                  <a:lnTo>
                    <a:pt x="2805" y="1813"/>
                  </a:lnTo>
                  <a:lnTo>
                    <a:pt x="2829" y="1800"/>
                  </a:lnTo>
                  <a:lnTo>
                    <a:pt x="2851" y="1786"/>
                  </a:lnTo>
                  <a:lnTo>
                    <a:pt x="2872" y="1771"/>
                  </a:lnTo>
                  <a:lnTo>
                    <a:pt x="2892" y="1754"/>
                  </a:lnTo>
                  <a:lnTo>
                    <a:pt x="2910" y="1737"/>
                  </a:lnTo>
                  <a:lnTo>
                    <a:pt x="2927" y="1718"/>
                  </a:lnTo>
                  <a:lnTo>
                    <a:pt x="2943" y="1698"/>
                  </a:lnTo>
                  <a:lnTo>
                    <a:pt x="2957" y="1678"/>
                  </a:lnTo>
                  <a:lnTo>
                    <a:pt x="2969" y="1657"/>
                  </a:lnTo>
                  <a:lnTo>
                    <a:pt x="3243" y="1779"/>
                  </a:lnTo>
                  <a:lnTo>
                    <a:pt x="3222" y="1811"/>
                  </a:lnTo>
                  <a:lnTo>
                    <a:pt x="3199" y="1844"/>
                  </a:lnTo>
                  <a:lnTo>
                    <a:pt x="3187" y="1860"/>
                  </a:lnTo>
                  <a:lnTo>
                    <a:pt x="3174" y="1875"/>
                  </a:lnTo>
                  <a:lnTo>
                    <a:pt x="3161" y="1890"/>
                  </a:lnTo>
                  <a:lnTo>
                    <a:pt x="3147" y="1905"/>
                  </a:lnTo>
                  <a:lnTo>
                    <a:pt x="3131" y="1920"/>
                  </a:lnTo>
                  <a:lnTo>
                    <a:pt x="3116" y="1934"/>
                  </a:lnTo>
                  <a:lnTo>
                    <a:pt x="3101" y="1948"/>
                  </a:lnTo>
                  <a:lnTo>
                    <a:pt x="3085" y="1963"/>
                  </a:lnTo>
                  <a:lnTo>
                    <a:pt x="3068" y="1976"/>
                  </a:lnTo>
                  <a:lnTo>
                    <a:pt x="3051" y="1989"/>
                  </a:lnTo>
                  <a:lnTo>
                    <a:pt x="3033" y="2002"/>
                  </a:lnTo>
                  <a:lnTo>
                    <a:pt x="3014" y="2014"/>
                  </a:lnTo>
                  <a:lnTo>
                    <a:pt x="2995" y="2026"/>
                  </a:lnTo>
                  <a:lnTo>
                    <a:pt x="2974" y="2037"/>
                  </a:lnTo>
                  <a:lnTo>
                    <a:pt x="2953" y="2047"/>
                  </a:lnTo>
                  <a:lnTo>
                    <a:pt x="2932" y="2057"/>
                  </a:lnTo>
                  <a:lnTo>
                    <a:pt x="2910" y="2066"/>
                  </a:lnTo>
                  <a:lnTo>
                    <a:pt x="2887" y="2075"/>
                  </a:lnTo>
                  <a:lnTo>
                    <a:pt x="2864" y="2083"/>
                  </a:lnTo>
                  <a:lnTo>
                    <a:pt x="2840" y="2091"/>
                  </a:lnTo>
                  <a:lnTo>
                    <a:pt x="2814" y="2097"/>
                  </a:lnTo>
                  <a:lnTo>
                    <a:pt x="2789" y="2103"/>
                  </a:lnTo>
                  <a:lnTo>
                    <a:pt x="2762" y="2108"/>
                  </a:lnTo>
                  <a:lnTo>
                    <a:pt x="2735" y="2112"/>
                  </a:lnTo>
                  <a:lnTo>
                    <a:pt x="2707" y="2115"/>
                  </a:lnTo>
                  <a:lnTo>
                    <a:pt x="2679" y="2118"/>
                  </a:lnTo>
                  <a:lnTo>
                    <a:pt x="2648" y="2119"/>
                  </a:lnTo>
                  <a:lnTo>
                    <a:pt x="2618" y="2120"/>
                  </a:lnTo>
                  <a:lnTo>
                    <a:pt x="2577" y="2119"/>
                  </a:lnTo>
                  <a:lnTo>
                    <a:pt x="2536" y="2116"/>
                  </a:lnTo>
                  <a:lnTo>
                    <a:pt x="2496" y="2112"/>
                  </a:lnTo>
                  <a:lnTo>
                    <a:pt x="2455" y="2106"/>
                  </a:lnTo>
                  <a:lnTo>
                    <a:pt x="2417" y="2099"/>
                  </a:lnTo>
                  <a:lnTo>
                    <a:pt x="2379" y="2090"/>
                  </a:lnTo>
                  <a:lnTo>
                    <a:pt x="2342" y="2079"/>
                  </a:lnTo>
                  <a:lnTo>
                    <a:pt x="2305" y="2067"/>
                  </a:lnTo>
                  <a:lnTo>
                    <a:pt x="2270" y="2054"/>
                  </a:lnTo>
                  <a:lnTo>
                    <a:pt x="2236" y="2039"/>
                  </a:lnTo>
                  <a:lnTo>
                    <a:pt x="2202" y="2023"/>
                  </a:lnTo>
                  <a:lnTo>
                    <a:pt x="2169" y="2005"/>
                  </a:lnTo>
                  <a:lnTo>
                    <a:pt x="2139" y="1986"/>
                  </a:lnTo>
                  <a:lnTo>
                    <a:pt x="2109" y="1966"/>
                  </a:lnTo>
                  <a:lnTo>
                    <a:pt x="2080" y="1944"/>
                  </a:lnTo>
                  <a:lnTo>
                    <a:pt x="2053" y="1921"/>
                  </a:lnTo>
                  <a:lnTo>
                    <a:pt x="2027" y="1897"/>
                  </a:lnTo>
                  <a:lnTo>
                    <a:pt x="2001" y="1872"/>
                  </a:lnTo>
                  <a:lnTo>
                    <a:pt x="1978" y="1845"/>
                  </a:lnTo>
                  <a:lnTo>
                    <a:pt x="1957" y="1817"/>
                  </a:lnTo>
                  <a:lnTo>
                    <a:pt x="1936" y="1788"/>
                  </a:lnTo>
                  <a:lnTo>
                    <a:pt x="1917" y="1759"/>
                  </a:lnTo>
                  <a:lnTo>
                    <a:pt x="1900" y="1728"/>
                  </a:lnTo>
                  <a:lnTo>
                    <a:pt x="1885" y="1695"/>
                  </a:lnTo>
                  <a:lnTo>
                    <a:pt x="1871" y="1662"/>
                  </a:lnTo>
                  <a:lnTo>
                    <a:pt x="1859" y="1628"/>
                  </a:lnTo>
                  <a:lnTo>
                    <a:pt x="1847" y="1593"/>
                  </a:lnTo>
                  <a:lnTo>
                    <a:pt x="1838" y="1557"/>
                  </a:lnTo>
                  <a:lnTo>
                    <a:pt x="1832" y="1520"/>
                  </a:lnTo>
                  <a:lnTo>
                    <a:pt x="1827" y="1483"/>
                  </a:lnTo>
                  <a:lnTo>
                    <a:pt x="1824" y="1443"/>
                  </a:lnTo>
                  <a:lnTo>
                    <a:pt x="1823" y="1404"/>
                  </a:lnTo>
                  <a:close/>
                  <a:moveTo>
                    <a:pt x="4437" y="2095"/>
                  </a:moveTo>
                  <a:lnTo>
                    <a:pt x="4437" y="971"/>
                  </a:lnTo>
                  <a:lnTo>
                    <a:pt x="3731" y="971"/>
                  </a:lnTo>
                  <a:lnTo>
                    <a:pt x="3731" y="2095"/>
                  </a:lnTo>
                  <a:lnTo>
                    <a:pt x="3413" y="2095"/>
                  </a:lnTo>
                  <a:lnTo>
                    <a:pt x="3413" y="712"/>
                  </a:lnTo>
                  <a:lnTo>
                    <a:pt x="4758" y="712"/>
                  </a:lnTo>
                  <a:lnTo>
                    <a:pt x="4758" y="2095"/>
                  </a:lnTo>
                  <a:lnTo>
                    <a:pt x="4437" y="2095"/>
                  </a:lnTo>
                  <a:close/>
                  <a:moveTo>
                    <a:pt x="6672" y="712"/>
                  </a:moveTo>
                  <a:lnTo>
                    <a:pt x="6672" y="971"/>
                  </a:lnTo>
                  <a:lnTo>
                    <a:pt x="5900" y="971"/>
                  </a:lnTo>
                  <a:lnTo>
                    <a:pt x="5900" y="1216"/>
                  </a:lnTo>
                  <a:lnTo>
                    <a:pt x="6287" y="1216"/>
                  </a:lnTo>
                  <a:lnTo>
                    <a:pt x="6316" y="1216"/>
                  </a:lnTo>
                  <a:lnTo>
                    <a:pt x="6345" y="1218"/>
                  </a:lnTo>
                  <a:lnTo>
                    <a:pt x="6373" y="1221"/>
                  </a:lnTo>
                  <a:lnTo>
                    <a:pt x="6400" y="1225"/>
                  </a:lnTo>
                  <a:lnTo>
                    <a:pt x="6426" y="1230"/>
                  </a:lnTo>
                  <a:lnTo>
                    <a:pt x="6451" y="1236"/>
                  </a:lnTo>
                  <a:lnTo>
                    <a:pt x="6475" y="1243"/>
                  </a:lnTo>
                  <a:lnTo>
                    <a:pt x="6498" y="1251"/>
                  </a:lnTo>
                  <a:lnTo>
                    <a:pt x="6522" y="1260"/>
                  </a:lnTo>
                  <a:lnTo>
                    <a:pt x="6543" y="1269"/>
                  </a:lnTo>
                  <a:lnTo>
                    <a:pt x="6564" y="1280"/>
                  </a:lnTo>
                  <a:lnTo>
                    <a:pt x="6584" y="1291"/>
                  </a:lnTo>
                  <a:lnTo>
                    <a:pt x="6603" y="1304"/>
                  </a:lnTo>
                  <a:lnTo>
                    <a:pt x="6620" y="1317"/>
                  </a:lnTo>
                  <a:lnTo>
                    <a:pt x="6638" y="1332"/>
                  </a:lnTo>
                  <a:lnTo>
                    <a:pt x="6654" y="1346"/>
                  </a:lnTo>
                  <a:lnTo>
                    <a:pt x="6669" y="1361"/>
                  </a:lnTo>
                  <a:lnTo>
                    <a:pt x="6684" y="1377"/>
                  </a:lnTo>
                  <a:lnTo>
                    <a:pt x="6697" y="1394"/>
                  </a:lnTo>
                  <a:lnTo>
                    <a:pt x="6710" y="1411"/>
                  </a:lnTo>
                  <a:lnTo>
                    <a:pt x="6721" y="1429"/>
                  </a:lnTo>
                  <a:lnTo>
                    <a:pt x="6732" y="1447"/>
                  </a:lnTo>
                  <a:lnTo>
                    <a:pt x="6741" y="1467"/>
                  </a:lnTo>
                  <a:lnTo>
                    <a:pt x="6750" y="1486"/>
                  </a:lnTo>
                  <a:lnTo>
                    <a:pt x="6757" y="1506"/>
                  </a:lnTo>
                  <a:lnTo>
                    <a:pt x="6764" y="1526"/>
                  </a:lnTo>
                  <a:lnTo>
                    <a:pt x="6769" y="1546"/>
                  </a:lnTo>
                  <a:lnTo>
                    <a:pt x="6774" y="1567"/>
                  </a:lnTo>
                  <a:lnTo>
                    <a:pt x="6777" y="1590"/>
                  </a:lnTo>
                  <a:lnTo>
                    <a:pt x="6780" y="1611"/>
                  </a:lnTo>
                  <a:lnTo>
                    <a:pt x="6782" y="1633"/>
                  </a:lnTo>
                  <a:lnTo>
                    <a:pt x="6782" y="1655"/>
                  </a:lnTo>
                  <a:lnTo>
                    <a:pt x="6782" y="1677"/>
                  </a:lnTo>
                  <a:lnTo>
                    <a:pt x="6780" y="1699"/>
                  </a:lnTo>
                  <a:lnTo>
                    <a:pt x="6778" y="1721"/>
                  </a:lnTo>
                  <a:lnTo>
                    <a:pt x="6774" y="1743"/>
                  </a:lnTo>
                  <a:lnTo>
                    <a:pt x="6769" y="1764"/>
                  </a:lnTo>
                  <a:lnTo>
                    <a:pt x="6764" y="1784"/>
                  </a:lnTo>
                  <a:lnTo>
                    <a:pt x="6757" y="1804"/>
                  </a:lnTo>
                  <a:lnTo>
                    <a:pt x="6750" y="1824"/>
                  </a:lnTo>
                  <a:lnTo>
                    <a:pt x="6741" y="1844"/>
                  </a:lnTo>
                  <a:lnTo>
                    <a:pt x="6732" y="1863"/>
                  </a:lnTo>
                  <a:lnTo>
                    <a:pt x="6722" y="1881"/>
                  </a:lnTo>
                  <a:lnTo>
                    <a:pt x="6710" y="1899"/>
                  </a:lnTo>
                  <a:lnTo>
                    <a:pt x="6698" y="1916"/>
                  </a:lnTo>
                  <a:lnTo>
                    <a:pt x="6685" y="1933"/>
                  </a:lnTo>
                  <a:lnTo>
                    <a:pt x="6670" y="1949"/>
                  </a:lnTo>
                  <a:lnTo>
                    <a:pt x="6654" y="1965"/>
                  </a:lnTo>
                  <a:lnTo>
                    <a:pt x="6638" y="1979"/>
                  </a:lnTo>
                  <a:lnTo>
                    <a:pt x="6621" y="1993"/>
                  </a:lnTo>
                  <a:lnTo>
                    <a:pt x="6603" y="2006"/>
                  </a:lnTo>
                  <a:lnTo>
                    <a:pt x="6585" y="2018"/>
                  </a:lnTo>
                  <a:lnTo>
                    <a:pt x="6565" y="2030"/>
                  </a:lnTo>
                  <a:lnTo>
                    <a:pt x="6544" y="2041"/>
                  </a:lnTo>
                  <a:lnTo>
                    <a:pt x="6523" y="2050"/>
                  </a:lnTo>
                  <a:lnTo>
                    <a:pt x="6499" y="2059"/>
                  </a:lnTo>
                  <a:lnTo>
                    <a:pt x="6476" y="2067"/>
                  </a:lnTo>
                  <a:lnTo>
                    <a:pt x="6452" y="2074"/>
                  </a:lnTo>
                  <a:lnTo>
                    <a:pt x="6427" y="2080"/>
                  </a:lnTo>
                  <a:lnTo>
                    <a:pt x="6401" y="2085"/>
                  </a:lnTo>
                  <a:lnTo>
                    <a:pt x="6374" y="2090"/>
                  </a:lnTo>
                  <a:lnTo>
                    <a:pt x="6345" y="2093"/>
                  </a:lnTo>
                  <a:lnTo>
                    <a:pt x="6317" y="2095"/>
                  </a:lnTo>
                  <a:lnTo>
                    <a:pt x="6287" y="2095"/>
                  </a:lnTo>
                  <a:lnTo>
                    <a:pt x="5582" y="2095"/>
                  </a:lnTo>
                  <a:lnTo>
                    <a:pt x="5582" y="712"/>
                  </a:lnTo>
                  <a:lnTo>
                    <a:pt x="6672" y="712"/>
                  </a:lnTo>
                  <a:close/>
                  <a:moveTo>
                    <a:pt x="5900" y="1475"/>
                  </a:moveTo>
                  <a:lnTo>
                    <a:pt x="5900" y="1475"/>
                  </a:lnTo>
                  <a:lnTo>
                    <a:pt x="5900" y="1836"/>
                  </a:lnTo>
                  <a:lnTo>
                    <a:pt x="6245" y="1836"/>
                  </a:lnTo>
                  <a:lnTo>
                    <a:pt x="6268" y="1834"/>
                  </a:lnTo>
                  <a:lnTo>
                    <a:pt x="6289" y="1832"/>
                  </a:lnTo>
                  <a:lnTo>
                    <a:pt x="6310" y="1828"/>
                  </a:lnTo>
                  <a:lnTo>
                    <a:pt x="6330" y="1822"/>
                  </a:lnTo>
                  <a:lnTo>
                    <a:pt x="6348" y="1815"/>
                  </a:lnTo>
                  <a:lnTo>
                    <a:pt x="6367" y="1807"/>
                  </a:lnTo>
                  <a:lnTo>
                    <a:pt x="6383" y="1797"/>
                  </a:lnTo>
                  <a:lnTo>
                    <a:pt x="6398" y="1786"/>
                  </a:lnTo>
                  <a:lnTo>
                    <a:pt x="6411" y="1774"/>
                  </a:lnTo>
                  <a:lnTo>
                    <a:pt x="6423" y="1760"/>
                  </a:lnTo>
                  <a:lnTo>
                    <a:pt x="6428" y="1753"/>
                  </a:lnTo>
                  <a:lnTo>
                    <a:pt x="6433" y="1746"/>
                  </a:lnTo>
                  <a:lnTo>
                    <a:pt x="6437" y="1738"/>
                  </a:lnTo>
                  <a:lnTo>
                    <a:pt x="6441" y="1730"/>
                  </a:lnTo>
                  <a:lnTo>
                    <a:pt x="6445" y="1722"/>
                  </a:lnTo>
                  <a:lnTo>
                    <a:pt x="6448" y="1713"/>
                  </a:lnTo>
                  <a:lnTo>
                    <a:pt x="6451" y="1703"/>
                  </a:lnTo>
                  <a:lnTo>
                    <a:pt x="6453" y="1694"/>
                  </a:lnTo>
                  <a:lnTo>
                    <a:pt x="6455" y="1685"/>
                  </a:lnTo>
                  <a:lnTo>
                    <a:pt x="6456" y="1675"/>
                  </a:lnTo>
                  <a:lnTo>
                    <a:pt x="6457" y="1665"/>
                  </a:lnTo>
                  <a:lnTo>
                    <a:pt x="6457" y="1655"/>
                  </a:lnTo>
                  <a:lnTo>
                    <a:pt x="6457" y="1645"/>
                  </a:lnTo>
                  <a:lnTo>
                    <a:pt x="6456" y="1635"/>
                  </a:lnTo>
                  <a:lnTo>
                    <a:pt x="6455" y="1625"/>
                  </a:lnTo>
                  <a:lnTo>
                    <a:pt x="6453" y="1615"/>
                  </a:lnTo>
                  <a:lnTo>
                    <a:pt x="6451" y="1606"/>
                  </a:lnTo>
                  <a:lnTo>
                    <a:pt x="6448" y="1597"/>
                  </a:lnTo>
                  <a:lnTo>
                    <a:pt x="6445" y="1589"/>
                  </a:lnTo>
                  <a:lnTo>
                    <a:pt x="6441" y="1579"/>
                  </a:lnTo>
                  <a:lnTo>
                    <a:pt x="6437" y="1571"/>
                  </a:lnTo>
                  <a:lnTo>
                    <a:pt x="6433" y="1563"/>
                  </a:lnTo>
                  <a:lnTo>
                    <a:pt x="6428" y="1556"/>
                  </a:lnTo>
                  <a:lnTo>
                    <a:pt x="6423" y="1549"/>
                  </a:lnTo>
                  <a:lnTo>
                    <a:pt x="6411" y="1535"/>
                  </a:lnTo>
                  <a:lnTo>
                    <a:pt x="6398" y="1523"/>
                  </a:lnTo>
                  <a:lnTo>
                    <a:pt x="6383" y="1512"/>
                  </a:lnTo>
                  <a:lnTo>
                    <a:pt x="6367" y="1502"/>
                  </a:lnTo>
                  <a:lnTo>
                    <a:pt x="6348" y="1494"/>
                  </a:lnTo>
                  <a:lnTo>
                    <a:pt x="6330" y="1487"/>
                  </a:lnTo>
                  <a:lnTo>
                    <a:pt x="6310" y="1482"/>
                  </a:lnTo>
                  <a:lnTo>
                    <a:pt x="6289" y="1478"/>
                  </a:lnTo>
                  <a:lnTo>
                    <a:pt x="6268" y="1476"/>
                  </a:lnTo>
                  <a:lnTo>
                    <a:pt x="6245" y="1475"/>
                  </a:lnTo>
                  <a:lnTo>
                    <a:pt x="5900" y="1475"/>
                  </a:lnTo>
                  <a:close/>
                  <a:moveTo>
                    <a:pt x="7602" y="2095"/>
                  </a:moveTo>
                  <a:lnTo>
                    <a:pt x="7602" y="1991"/>
                  </a:lnTo>
                  <a:lnTo>
                    <a:pt x="7587" y="2006"/>
                  </a:lnTo>
                  <a:lnTo>
                    <a:pt x="7572" y="2020"/>
                  </a:lnTo>
                  <a:lnTo>
                    <a:pt x="7555" y="2033"/>
                  </a:lnTo>
                  <a:lnTo>
                    <a:pt x="7537" y="2045"/>
                  </a:lnTo>
                  <a:lnTo>
                    <a:pt x="7518" y="2056"/>
                  </a:lnTo>
                  <a:lnTo>
                    <a:pt x="7499" y="2067"/>
                  </a:lnTo>
                  <a:lnTo>
                    <a:pt x="7477" y="2076"/>
                  </a:lnTo>
                  <a:lnTo>
                    <a:pt x="7456" y="2085"/>
                  </a:lnTo>
                  <a:lnTo>
                    <a:pt x="7433" y="2094"/>
                  </a:lnTo>
                  <a:lnTo>
                    <a:pt x="7410" y="2100"/>
                  </a:lnTo>
                  <a:lnTo>
                    <a:pt x="7387" y="2106"/>
                  </a:lnTo>
                  <a:lnTo>
                    <a:pt x="7362" y="2111"/>
                  </a:lnTo>
                  <a:lnTo>
                    <a:pt x="7337" y="2115"/>
                  </a:lnTo>
                  <a:lnTo>
                    <a:pt x="7311" y="2117"/>
                  </a:lnTo>
                  <a:lnTo>
                    <a:pt x="7285" y="2119"/>
                  </a:lnTo>
                  <a:lnTo>
                    <a:pt x="7259" y="2120"/>
                  </a:lnTo>
                  <a:lnTo>
                    <a:pt x="7243" y="2119"/>
                  </a:lnTo>
                  <a:lnTo>
                    <a:pt x="7227" y="2118"/>
                  </a:lnTo>
                  <a:lnTo>
                    <a:pt x="7210" y="2117"/>
                  </a:lnTo>
                  <a:lnTo>
                    <a:pt x="7194" y="2115"/>
                  </a:lnTo>
                  <a:lnTo>
                    <a:pt x="7177" y="2112"/>
                  </a:lnTo>
                  <a:lnTo>
                    <a:pt x="7160" y="2108"/>
                  </a:lnTo>
                  <a:lnTo>
                    <a:pt x="7144" y="2104"/>
                  </a:lnTo>
                  <a:lnTo>
                    <a:pt x="7128" y="2099"/>
                  </a:lnTo>
                  <a:lnTo>
                    <a:pt x="7111" y="2094"/>
                  </a:lnTo>
                  <a:lnTo>
                    <a:pt x="7096" y="2087"/>
                  </a:lnTo>
                  <a:lnTo>
                    <a:pt x="7080" y="2080"/>
                  </a:lnTo>
                  <a:lnTo>
                    <a:pt x="7065" y="2073"/>
                  </a:lnTo>
                  <a:lnTo>
                    <a:pt x="7050" y="2065"/>
                  </a:lnTo>
                  <a:lnTo>
                    <a:pt x="7035" y="2057"/>
                  </a:lnTo>
                  <a:lnTo>
                    <a:pt x="7021" y="2047"/>
                  </a:lnTo>
                  <a:lnTo>
                    <a:pt x="7007" y="2037"/>
                  </a:lnTo>
                  <a:lnTo>
                    <a:pt x="6993" y="2027"/>
                  </a:lnTo>
                  <a:lnTo>
                    <a:pt x="6980" y="2016"/>
                  </a:lnTo>
                  <a:lnTo>
                    <a:pt x="6968" y="2004"/>
                  </a:lnTo>
                  <a:lnTo>
                    <a:pt x="6957" y="1991"/>
                  </a:lnTo>
                  <a:lnTo>
                    <a:pt x="6946" y="1978"/>
                  </a:lnTo>
                  <a:lnTo>
                    <a:pt x="6936" y="1964"/>
                  </a:lnTo>
                  <a:lnTo>
                    <a:pt x="6926" y="1949"/>
                  </a:lnTo>
                  <a:lnTo>
                    <a:pt x="6918" y="1934"/>
                  </a:lnTo>
                  <a:lnTo>
                    <a:pt x="6910" y="1918"/>
                  </a:lnTo>
                  <a:lnTo>
                    <a:pt x="6903" y="1901"/>
                  </a:lnTo>
                  <a:lnTo>
                    <a:pt x="6898" y="1884"/>
                  </a:lnTo>
                  <a:lnTo>
                    <a:pt x="6893" y="1866"/>
                  </a:lnTo>
                  <a:lnTo>
                    <a:pt x="6889" y="1848"/>
                  </a:lnTo>
                  <a:lnTo>
                    <a:pt x="6886" y="1828"/>
                  </a:lnTo>
                  <a:lnTo>
                    <a:pt x="6884" y="1808"/>
                  </a:lnTo>
                  <a:lnTo>
                    <a:pt x="6884" y="1788"/>
                  </a:lnTo>
                  <a:lnTo>
                    <a:pt x="6884" y="1766"/>
                  </a:lnTo>
                  <a:lnTo>
                    <a:pt x="6886" y="1746"/>
                  </a:lnTo>
                  <a:lnTo>
                    <a:pt x="6889" y="1726"/>
                  </a:lnTo>
                  <a:lnTo>
                    <a:pt x="6893" y="1706"/>
                  </a:lnTo>
                  <a:lnTo>
                    <a:pt x="6898" y="1688"/>
                  </a:lnTo>
                  <a:lnTo>
                    <a:pt x="6903" y="1671"/>
                  </a:lnTo>
                  <a:lnTo>
                    <a:pt x="6910" y="1654"/>
                  </a:lnTo>
                  <a:lnTo>
                    <a:pt x="6918" y="1639"/>
                  </a:lnTo>
                  <a:lnTo>
                    <a:pt x="6926" y="1624"/>
                  </a:lnTo>
                  <a:lnTo>
                    <a:pt x="6936" y="1609"/>
                  </a:lnTo>
                  <a:lnTo>
                    <a:pt x="6946" y="1596"/>
                  </a:lnTo>
                  <a:lnTo>
                    <a:pt x="6957" y="1583"/>
                  </a:lnTo>
                  <a:lnTo>
                    <a:pt x="6968" y="1570"/>
                  </a:lnTo>
                  <a:lnTo>
                    <a:pt x="6980" y="1559"/>
                  </a:lnTo>
                  <a:lnTo>
                    <a:pt x="6993" y="1548"/>
                  </a:lnTo>
                  <a:lnTo>
                    <a:pt x="7007" y="1538"/>
                  </a:lnTo>
                  <a:lnTo>
                    <a:pt x="7021" y="1529"/>
                  </a:lnTo>
                  <a:lnTo>
                    <a:pt x="7035" y="1520"/>
                  </a:lnTo>
                  <a:lnTo>
                    <a:pt x="7050" y="1512"/>
                  </a:lnTo>
                  <a:lnTo>
                    <a:pt x="7065" y="1505"/>
                  </a:lnTo>
                  <a:lnTo>
                    <a:pt x="7080" y="1499"/>
                  </a:lnTo>
                  <a:lnTo>
                    <a:pt x="7096" y="1493"/>
                  </a:lnTo>
                  <a:lnTo>
                    <a:pt x="7111" y="1487"/>
                  </a:lnTo>
                  <a:lnTo>
                    <a:pt x="7128" y="1482"/>
                  </a:lnTo>
                  <a:lnTo>
                    <a:pt x="7144" y="1478"/>
                  </a:lnTo>
                  <a:lnTo>
                    <a:pt x="7160" y="1475"/>
                  </a:lnTo>
                  <a:lnTo>
                    <a:pt x="7177" y="1472"/>
                  </a:lnTo>
                  <a:lnTo>
                    <a:pt x="7194" y="1469"/>
                  </a:lnTo>
                  <a:lnTo>
                    <a:pt x="7210" y="1467"/>
                  </a:lnTo>
                  <a:lnTo>
                    <a:pt x="7227" y="1466"/>
                  </a:lnTo>
                  <a:lnTo>
                    <a:pt x="7243" y="1465"/>
                  </a:lnTo>
                  <a:lnTo>
                    <a:pt x="7259" y="1465"/>
                  </a:lnTo>
                  <a:lnTo>
                    <a:pt x="7286" y="1465"/>
                  </a:lnTo>
                  <a:lnTo>
                    <a:pt x="7312" y="1467"/>
                  </a:lnTo>
                  <a:lnTo>
                    <a:pt x="7338" y="1469"/>
                  </a:lnTo>
                  <a:lnTo>
                    <a:pt x="7363" y="1473"/>
                  </a:lnTo>
                  <a:lnTo>
                    <a:pt x="7388" y="1477"/>
                  </a:lnTo>
                  <a:lnTo>
                    <a:pt x="7412" y="1483"/>
                  </a:lnTo>
                  <a:lnTo>
                    <a:pt x="7435" y="1489"/>
                  </a:lnTo>
                  <a:lnTo>
                    <a:pt x="7457" y="1496"/>
                  </a:lnTo>
                  <a:lnTo>
                    <a:pt x="7479" y="1504"/>
                  </a:lnTo>
                  <a:lnTo>
                    <a:pt x="7500" y="1513"/>
                  </a:lnTo>
                  <a:lnTo>
                    <a:pt x="7520" y="1523"/>
                  </a:lnTo>
                  <a:lnTo>
                    <a:pt x="7539" y="1534"/>
                  </a:lnTo>
                  <a:lnTo>
                    <a:pt x="7556" y="1546"/>
                  </a:lnTo>
                  <a:lnTo>
                    <a:pt x="7573" y="1558"/>
                  </a:lnTo>
                  <a:lnTo>
                    <a:pt x="7588" y="1572"/>
                  </a:lnTo>
                  <a:lnTo>
                    <a:pt x="7602" y="1587"/>
                  </a:lnTo>
                  <a:lnTo>
                    <a:pt x="7602" y="1452"/>
                  </a:lnTo>
                  <a:lnTo>
                    <a:pt x="7601" y="1442"/>
                  </a:lnTo>
                  <a:lnTo>
                    <a:pt x="7601" y="1433"/>
                  </a:lnTo>
                  <a:lnTo>
                    <a:pt x="7599" y="1424"/>
                  </a:lnTo>
                  <a:lnTo>
                    <a:pt x="7597" y="1415"/>
                  </a:lnTo>
                  <a:lnTo>
                    <a:pt x="7595" y="1407"/>
                  </a:lnTo>
                  <a:lnTo>
                    <a:pt x="7592" y="1399"/>
                  </a:lnTo>
                  <a:lnTo>
                    <a:pt x="7589" y="1391"/>
                  </a:lnTo>
                  <a:lnTo>
                    <a:pt x="7585" y="1383"/>
                  </a:lnTo>
                  <a:lnTo>
                    <a:pt x="7581" y="1376"/>
                  </a:lnTo>
                  <a:lnTo>
                    <a:pt x="7576" y="1368"/>
                  </a:lnTo>
                  <a:lnTo>
                    <a:pt x="7570" y="1361"/>
                  </a:lnTo>
                  <a:lnTo>
                    <a:pt x="7565" y="1355"/>
                  </a:lnTo>
                  <a:lnTo>
                    <a:pt x="7552" y="1342"/>
                  </a:lnTo>
                  <a:lnTo>
                    <a:pt x="7537" y="1331"/>
                  </a:lnTo>
                  <a:lnTo>
                    <a:pt x="7521" y="1319"/>
                  </a:lnTo>
                  <a:lnTo>
                    <a:pt x="7503" y="1310"/>
                  </a:lnTo>
                  <a:lnTo>
                    <a:pt x="7483" y="1302"/>
                  </a:lnTo>
                  <a:lnTo>
                    <a:pt x="7462" y="1296"/>
                  </a:lnTo>
                  <a:lnTo>
                    <a:pt x="7440" y="1291"/>
                  </a:lnTo>
                  <a:lnTo>
                    <a:pt x="7416" y="1287"/>
                  </a:lnTo>
                  <a:lnTo>
                    <a:pt x="7391" y="1285"/>
                  </a:lnTo>
                  <a:lnTo>
                    <a:pt x="7365" y="1284"/>
                  </a:lnTo>
                  <a:lnTo>
                    <a:pt x="7343" y="1285"/>
                  </a:lnTo>
                  <a:lnTo>
                    <a:pt x="7321" y="1286"/>
                  </a:lnTo>
                  <a:lnTo>
                    <a:pt x="7300" y="1288"/>
                  </a:lnTo>
                  <a:lnTo>
                    <a:pt x="7279" y="1291"/>
                  </a:lnTo>
                  <a:lnTo>
                    <a:pt x="7258" y="1296"/>
                  </a:lnTo>
                  <a:lnTo>
                    <a:pt x="7238" y="1301"/>
                  </a:lnTo>
                  <a:lnTo>
                    <a:pt x="7218" y="1306"/>
                  </a:lnTo>
                  <a:lnTo>
                    <a:pt x="7198" y="1313"/>
                  </a:lnTo>
                  <a:lnTo>
                    <a:pt x="7178" y="1321"/>
                  </a:lnTo>
                  <a:lnTo>
                    <a:pt x="7158" y="1331"/>
                  </a:lnTo>
                  <a:lnTo>
                    <a:pt x="7139" y="1340"/>
                  </a:lnTo>
                  <a:lnTo>
                    <a:pt x="7120" y="1351"/>
                  </a:lnTo>
                  <a:lnTo>
                    <a:pt x="7102" y="1362"/>
                  </a:lnTo>
                  <a:lnTo>
                    <a:pt x="7084" y="1375"/>
                  </a:lnTo>
                  <a:lnTo>
                    <a:pt x="7066" y="1388"/>
                  </a:lnTo>
                  <a:lnTo>
                    <a:pt x="7049" y="1402"/>
                  </a:lnTo>
                  <a:lnTo>
                    <a:pt x="6941" y="1226"/>
                  </a:lnTo>
                  <a:lnTo>
                    <a:pt x="6966" y="1207"/>
                  </a:lnTo>
                  <a:lnTo>
                    <a:pt x="6992" y="1188"/>
                  </a:lnTo>
                  <a:lnTo>
                    <a:pt x="7020" y="1171"/>
                  </a:lnTo>
                  <a:lnTo>
                    <a:pt x="7047" y="1156"/>
                  </a:lnTo>
                  <a:lnTo>
                    <a:pt x="7075" y="1142"/>
                  </a:lnTo>
                  <a:lnTo>
                    <a:pt x="7104" y="1129"/>
                  </a:lnTo>
                  <a:lnTo>
                    <a:pt x="7133" y="1117"/>
                  </a:lnTo>
                  <a:lnTo>
                    <a:pt x="7163" y="1107"/>
                  </a:lnTo>
                  <a:lnTo>
                    <a:pt x="7194" y="1098"/>
                  </a:lnTo>
                  <a:lnTo>
                    <a:pt x="7224" y="1090"/>
                  </a:lnTo>
                  <a:lnTo>
                    <a:pt x="7255" y="1084"/>
                  </a:lnTo>
                  <a:lnTo>
                    <a:pt x="7286" y="1078"/>
                  </a:lnTo>
                  <a:lnTo>
                    <a:pt x="7318" y="1073"/>
                  </a:lnTo>
                  <a:lnTo>
                    <a:pt x="7350" y="1070"/>
                  </a:lnTo>
                  <a:lnTo>
                    <a:pt x="7382" y="1069"/>
                  </a:lnTo>
                  <a:lnTo>
                    <a:pt x="7414" y="1068"/>
                  </a:lnTo>
                  <a:lnTo>
                    <a:pt x="7437" y="1068"/>
                  </a:lnTo>
                  <a:lnTo>
                    <a:pt x="7459" y="1069"/>
                  </a:lnTo>
                  <a:lnTo>
                    <a:pt x="7482" y="1070"/>
                  </a:lnTo>
                  <a:lnTo>
                    <a:pt x="7505" y="1072"/>
                  </a:lnTo>
                  <a:lnTo>
                    <a:pt x="7527" y="1076"/>
                  </a:lnTo>
                  <a:lnTo>
                    <a:pt x="7549" y="1079"/>
                  </a:lnTo>
                  <a:lnTo>
                    <a:pt x="7570" y="1083"/>
                  </a:lnTo>
                  <a:lnTo>
                    <a:pt x="7591" y="1088"/>
                  </a:lnTo>
                  <a:lnTo>
                    <a:pt x="7612" y="1093"/>
                  </a:lnTo>
                  <a:lnTo>
                    <a:pt x="7632" y="1099"/>
                  </a:lnTo>
                  <a:lnTo>
                    <a:pt x="7653" y="1105"/>
                  </a:lnTo>
                  <a:lnTo>
                    <a:pt x="7672" y="1113"/>
                  </a:lnTo>
                  <a:lnTo>
                    <a:pt x="7691" y="1121"/>
                  </a:lnTo>
                  <a:lnTo>
                    <a:pt x="7708" y="1130"/>
                  </a:lnTo>
                  <a:lnTo>
                    <a:pt x="7726" y="1139"/>
                  </a:lnTo>
                  <a:lnTo>
                    <a:pt x="7742" y="1150"/>
                  </a:lnTo>
                  <a:lnTo>
                    <a:pt x="7758" y="1161"/>
                  </a:lnTo>
                  <a:lnTo>
                    <a:pt x="7773" y="1174"/>
                  </a:lnTo>
                  <a:lnTo>
                    <a:pt x="7788" y="1187"/>
                  </a:lnTo>
                  <a:lnTo>
                    <a:pt x="7801" y="1201"/>
                  </a:lnTo>
                  <a:lnTo>
                    <a:pt x="7815" y="1217"/>
                  </a:lnTo>
                  <a:lnTo>
                    <a:pt x="7827" y="1232"/>
                  </a:lnTo>
                  <a:lnTo>
                    <a:pt x="7838" y="1249"/>
                  </a:lnTo>
                  <a:lnTo>
                    <a:pt x="7847" y="1267"/>
                  </a:lnTo>
                  <a:lnTo>
                    <a:pt x="7856" y="1286"/>
                  </a:lnTo>
                  <a:lnTo>
                    <a:pt x="7864" y="1305"/>
                  </a:lnTo>
                  <a:lnTo>
                    <a:pt x="7871" y="1326"/>
                  </a:lnTo>
                  <a:lnTo>
                    <a:pt x="7876" y="1349"/>
                  </a:lnTo>
                  <a:lnTo>
                    <a:pt x="7881" y="1372"/>
                  </a:lnTo>
                  <a:lnTo>
                    <a:pt x="7884" y="1396"/>
                  </a:lnTo>
                  <a:lnTo>
                    <a:pt x="7886" y="1421"/>
                  </a:lnTo>
                  <a:lnTo>
                    <a:pt x="7886" y="1447"/>
                  </a:lnTo>
                  <a:lnTo>
                    <a:pt x="7886" y="2095"/>
                  </a:lnTo>
                  <a:lnTo>
                    <a:pt x="7602" y="2095"/>
                  </a:lnTo>
                  <a:close/>
                  <a:moveTo>
                    <a:pt x="7602" y="1854"/>
                  </a:moveTo>
                  <a:lnTo>
                    <a:pt x="7602" y="1854"/>
                  </a:lnTo>
                  <a:lnTo>
                    <a:pt x="7602" y="1730"/>
                  </a:lnTo>
                  <a:lnTo>
                    <a:pt x="7592" y="1720"/>
                  </a:lnTo>
                  <a:lnTo>
                    <a:pt x="7582" y="1710"/>
                  </a:lnTo>
                  <a:lnTo>
                    <a:pt x="7571" y="1700"/>
                  </a:lnTo>
                  <a:lnTo>
                    <a:pt x="7559" y="1691"/>
                  </a:lnTo>
                  <a:lnTo>
                    <a:pt x="7547" y="1684"/>
                  </a:lnTo>
                  <a:lnTo>
                    <a:pt x="7533" y="1676"/>
                  </a:lnTo>
                  <a:lnTo>
                    <a:pt x="7519" y="1670"/>
                  </a:lnTo>
                  <a:lnTo>
                    <a:pt x="7505" y="1664"/>
                  </a:lnTo>
                  <a:lnTo>
                    <a:pt x="7490" y="1659"/>
                  </a:lnTo>
                  <a:lnTo>
                    <a:pt x="7473" y="1655"/>
                  </a:lnTo>
                  <a:lnTo>
                    <a:pt x="7457" y="1651"/>
                  </a:lnTo>
                  <a:lnTo>
                    <a:pt x="7441" y="1648"/>
                  </a:lnTo>
                  <a:lnTo>
                    <a:pt x="7424" y="1646"/>
                  </a:lnTo>
                  <a:lnTo>
                    <a:pt x="7408" y="1644"/>
                  </a:lnTo>
                  <a:lnTo>
                    <a:pt x="7391" y="1643"/>
                  </a:lnTo>
                  <a:lnTo>
                    <a:pt x="7374" y="1643"/>
                  </a:lnTo>
                  <a:lnTo>
                    <a:pt x="7353" y="1643"/>
                  </a:lnTo>
                  <a:lnTo>
                    <a:pt x="7333" y="1645"/>
                  </a:lnTo>
                  <a:lnTo>
                    <a:pt x="7313" y="1648"/>
                  </a:lnTo>
                  <a:lnTo>
                    <a:pt x="7294" y="1652"/>
                  </a:lnTo>
                  <a:lnTo>
                    <a:pt x="7277" y="1658"/>
                  </a:lnTo>
                  <a:lnTo>
                    <a:pt x="7260" y="1665"/>
                  </a:lnTo>
                  <a:lnTo>
                    <a:pt x="7244" y="1672"/>
                  </a:lnTo>
                  <a:lnTo>
                    <a:pt x="7230" y="1681"/>
                  </a:lnTo>
                  <a:lnTo>
                    <a:pt x="7217" y="1692"/>
                  </a:lnTo>
                  <a:lnTo>
                    <a:pt x="7205" y="1703"/>
                  </a:lnTo>
                  <a:lnTo>
                    <a:pt x="7195" y="1716"/>
                  </a:lnTo>
                  <a:lnTo>
                    <a:pt x="7186" y="1730"/>
                  </a:lnTo>
                  <a:lnTo>
                    <a:pt x="7183" y="1737"/>
                  </a:lnTo>
                  <a:lnTo>
                    <a:pt x="7180" y="1744"/>
                  </a:lnTo>
                  <a:lnTo>
                    <a:pt x="7177" y="1752"/>
                  </a:lnTo>
                  <a:lnTo>
                    <a:pt x="7175" y="1759"/>
                  </a:lnTo>
                  <a:lnTo>
                    <a:pt x="7173" y="1768"/>
                  </a:lnTo>
                  <a:lnTo>
                    <a:pt x="7172" y="1776"/>
                  </a:lnTo>
                  <a:lnTo>
                    <a:pt x="7171" y="1785"/>
                  </a:lnTo>
                  <a:lnTo>
                    <a:pt x="7170" y="1794"/>
                  </a:lnTo>
                  <a:lnTo>
                    <a:pt x="7171" y="1802"/>
                  </a:lnTo>
                  <a:lnTo>
                    <a:pt x="7172" y="1811"/>
                  </a:lnTo>
                  <a:lnTo>
                    <a:pt x="7173" y="1819"/>
                  </a:lnTo>
                  <a:lnTo>
                    <a:pt x="7175" y="1827"/>
                  </a:lnTo>
                  <a:lnTo>
                    <a:pt x="7177" y="1834"/>
                  </a:lnTo>
                  <a:lnTo>
                    <a:pt x="7180" y="1843"/>
                  </a:lnTo>
                  <a:lnTo>
                    <a:pt x="7183" y="1850"/>
                  </a:lnTo>
                  <a:lnTo>
                    <a:pt x="7186" y="1857"/>
                  </a:lnTo>
                  <a:lnTo>
                    <a:pt x="7195" y="1870"/>
                  </a:lnTo>
                  <a:lnTo>
                    <a:pt x="7205" y="1882"/>
                  </a:lnTo>
                  <a:lnTo>
                    <a:pt x="7217" y="1893"/>
                  </a:lnTo>
                  <a:lnTo>
                    <a:pt x="7230" y="1902"/>
                  </a:lnTo>
                  <a:lnTo>
                    <a:pt x="7244" y="1911"/>
                  </a:lnTo>
                  <a:lnTo>
                    <a:pt x="7260" y="1919"/>
                  </a:lnTo>
                  <a:lnTo>
                    <a:pt x="7277" y="1926"/>
                  </a:lnTo>
                  <a:lnTo>
                    <a:pt x="7294" y="1931"/>
                  </a:lnTo>
                  <a:lnTo>
                    <a:pt x="7313" y="1935"/>
                  </a:lnTo>
                  <a:lnTo>
                    <a:pt x="7333" y="1938"/>
                  </a:lnTo>
                  <a:lnTo>
                    <a:pt x="7353" y="1940"/>
                  </a:lnTo>
                  <a:lnTo>
                    <a:pt x="7374" y="1941"/>
                  </a:lnTo>
                  <a:lnTo>
                    <a:pt x="7391" y="1940"/>
                  </a:lnTo>
                  <a:lnTo>
                    <a:pt x="7408" y="1939"/>
                  </a:lnTo>
                  <a:lnTo>
                    <a:pt x="7424" y="1938"/>
                  </a:lnTo>
                  <a:lnTo>
                    <a:pt x="7441" y="1935"/>
                  </a:lnTo>
                  <a:lnTo>
                    <a:pt x="7457" y="1932"/>
                  </a:lnTo>
                  <a:lnTo>
                    <a:pt x="7473" y="1929"/>
                  </a:lnTo>
                  <a:lnTo>
                    <a:pt x="7490" y="1924"/>
                  </a:lnTo>
                  <a:lnTo>
                    <a:pt x="7505" y="1919"/>
                  </a:lnTo>
                  <a:lnTo>
                    <a:pt x="7519" y="1913"/>
                  </a:lnTo>
                  <a:lnTo>
                    <a:pt x="7533" y="1907"/>
                  </a:lnTo>
                  <a:lnTo>
                    <a:pt x="7547" y="1900"/>
                  </a:lnTo>
                  <a:lnTo>
                    <a:pt x="7559" y="1892"/>
                  </a:lnTo>
                  <a:lnTo>
                    <a:pt x="7571" y="1884"/>
                  </a:lnTo>
                  <a:lnTo>
                    <a:pt x="7582" y="1875"/>
                  </a:lnTo>
                  <a:lnTo>
                    <a:pt x="7592" y="1865"/>
                  </a:lnTo>
                  <a:lnTo>
                    <a:pt x="7602" y="1854"/>
                  </a:lnTo>
                  <a:close/>
                  <a:moveTo>
                    <a:pt x="8147" y="2095"/>
                  </a:moveTo>
                  <a:lnTo>
                    <a:pt x="8147" y="1094"/>
                  </a:lnTo>
                  <a:lnTo>
                    <a:pt x="8431" y="1094"/>
                  </a:lnTo>
                  <a:lnTo>
                    <a:pt x="8431" y="1465"/>
                  </a:lnTo>
                  <a:lnTo>
                    <a:pt x="8878" y="1465"/>
                  </a:lnTo>
                  <a:lnTo>
                    <a:pt x="8878" y="1094"/>
                  </a:lnTo>
                  <a:lnTo>
                    <a:pt x="9163" y="1094"/>
                  </a:lnTo>
                  <a:lnTo>
                    <a:pt x="9163" y="2095"/>
                  </a:lnTo>
                  <a:lnTo>
                    <a:pt x="8878" y="2095"/>
                  </a:lnTo>
                  <a:lnTo>
                    <a:pt x="8878" y="1694"/>
                  </a:lnTo>
                  <a:lnTo>
                    <a:pt x="8431" y="1694"/>
                  </a:lnTo>
                  <a:lnTo>
                    <a:pt x="8431" y="2095"/>
                  </a:lnTo>
                  <a:lnTo>
                    <a:pt x="8147" y="2095"/>
                  </a:lnTo>
                  <a:close/>
                  <a:moveTo>
                    <a:pt x="10127" y="2095"/>
                  </a:moveTo>
                  <a:lnTo>
                    <a:pt x="9840" y="1710"/>
                  </a:lnTo>
                  <a:lnTo>
                    <a:pt x="9709" y="1838"/>
                  </a:lnTo>
                  <a:lnTo>
                    <a:pt x="9709" y="2095"/>
                  </a:lnTo>
                  <a:lnTo>
                    <a:pt x="9426" y="2095"/>
                  </a:lnTo>
                  <a:lnTo>
                    <a:pt x="9426" y="1094"/>
                  </a:lnTo>
                  <a:lnTo>
                    <a:pt x="9709" y="1094"/>
                  </a:lnTo>
                  <a:lnTo>
                    <a:pt x="9709" y="1539"/>
                  </a:lnTo>
                  <a:lnTo>
                    <a:pt x="10120" y="1094"/>
                  </a:lnTo>
                  <a:lnTo>
                    <a:pt x="10469" y="1094"/>
                  </a:lnTo>
                  <a:lnTo>
                    <a:pt x="10041" y="1547"/>
                  </a:lnTo>
                  <a:lnTo>
                    <a:pt x="10482" y="2095"/>
                  </a:lnTo>
                  <a:lnTo>
                    <a:pt x="10127" y="2095"/>
                  </a:lnTo>
                  <a:close/>
                  <a:moveTo>
                    <a:pt x="14428" y="1078"/>
                  </a:moveTo>
                  <a:lnTo>
                    <a:pt x="13892" y="3416"/>
                  </a:lnTo>
                  <a:lnTo>
                    <a:pt x="12440" y="3416"/>
                  </a:lnTo>
                  <a:lnTo>
                    <a:pt x="12977" y="1078"/>
                  </a:lnTo>
                  <a:lnTo>
                    <a:pt x="12555" y="0"/>
                  </a:lnTo>
                  <a:lnTo>
                    <a:pt x="14006" y="0"/>
                  </a:lnTo>
                  <a:lnTo>
                    <a:pt x="14428" y="1078"/>
                  </a:lnTo>
                  <a:close/>
                  <a:moveTo>
                    <a:pt x="16100" y="1078"/>
                  </a:moveTo>
                  <a:lnTo>
                    <a:pt x="15798" y="2391"/>
                  </a:lnTo>
                  <a:lnTo>
                    <a:pt x="15564" y="3416"/>
                  </a:lnTo>
                  <a:lnTo>
                    <a:pt x="15564" y="3416"/>
                  </a:lnTo>
                  <a:lnTo>
                    <a:pt x="14112" y="3416"/>
                  </a:lnTo>
                  <a:lnTo>
                    <a:pt x="14648" y="1078"/>
                  </a:lnTo>
                  <a:lnTo>
                    <a:pt x="14226" y="0"/>
                  </a:lnTo>
                  <a:lnTo>
                    <a:pt x="14226" y="0"/>
                  </a:lnTo>
                  <a:lnTo>
                    <a:pt x="15678" y="0"/>
                  </a:lnTo>
                  <a:lnTo>
                    <a:pt x="16100" y="1078"/>
                  </a:lnTo>
                  <a:close/>
                  <a:moveTo>
                    <a:pt x="15518" y="3302"/>
                  </a:moveTo>
                  <a:lnTo>
                    <a:pt x="14693" y="1191"/>
                  </a:lnTo>
                  <a:lnTo>
                    <a:pt x="14198" y="3346"/>
                  </a:lnTo>
                  <a:lnTo>
                    <a:pt x="15508" y="3346"/>
                  </a:lnTo>
                  <a:lnTo>
                    <a:pt x="15518" y="3302"/>
                  </a:lnTo>
                  <a:close/>
                  <a:moveTo>
                    <a:pt x="13847" y="3302"/>
                  </a:moveTo>
                  <a:lnTo>
                    <a:pt x="13021" y="1191"/>
                  </a:lnTo>
                  <a:lnTo>
                    <a:pt x="12527" y="3346"/>
                  </a:lnTo>
                  <a:lnTo>
                    <a:pt x="13837" y="3346"/>
                  </a:lnTo>
                  <a:lnTo>
                    <a:pt x="13847" y="3302"/>
                  </a:lnTo>
                  <a:close/>
                  <a:moveTo>
                    <a:pt x="12756" y="1078"/>
                  </a:moveTo>
                  <a:lnTo>
                    <a:pt x="12522" y="2097"/>
                  </a:lnTo>
                  <a:lnTo>
                    <a:pt x="12220" y="3416"/>
                  </a:lnTo>
                  <a:lnTo>
                    <a:pt x="12219" y="3416"/>
                  </a:lnTo>
                  <a:lnTo>
                    <a:pt x="10768" y="3416"/>
                  </a:lnTo>
                  <a:lnTo>
                    <a:pt x="11304" y="1078"/>
                  </a:lnTo>
                  <a:lnTo>
                    <a:pt x="11304" y="1078"/>
                  </a:lnTo>
                  <a:lnTo>
                    <a:pt x="10883" y="0"/>
                  </a:lnTo>
                  <a:lnTo>
                    <a:pt x="10883" y="0"/>
                  </a:lnTo>
                  <a:lnTo>
                    <a:pt x="12334" y="0"/>
                  </a:lnTo>
                  <a:lnTo>
                    <a:pt x="12335" y="0"/>
                  </a:lnTo>
                  <a:lnTo>
                    <a:pt x="12593" y="661"/>
                  </a:lnTo>
                  <a:lnTo>
                    <a:pt x="12756" y="1078"/>
                  </a:lnTo>
                  <a:close/>
                  <a:moveTo>
                    <a:pt x="12175" y="3303"/>
                  </a:moveTo>
                  <a:lnTo>
                    <a:pt x="11348" y="1191"/>
                  </a:lnTo>
                  <a:lnTo>
                    <a:pt x="10854" y="3346"/>
                  </a:lnTo>
                  <a:lnTo>
                    <a:pt x="12165" y="3346"/>
                  </a:lnTo>
                  <a:lnTo>
                    <a:pt x="12175" y="33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98" name="Рисунок 9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3363" y="394020"/>
            <a:ext cx="2021894" cy="392337"/>
          </a:xfrm>
          <a:prstGeom prst="rect">
            <a:avLst/>
          </a:prstGeom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F9FD93B-A025-B1FE-3252-B85BD47F8200}"/>
              </a:ext>
            </a:extLst>
          </p:cNvPr>
          <p:cNvGrpSpPr/>
          <p:nvPr/>
        </p:nvGrpSpPr>
        <p:grpSpPr>
          <a:xfrm>
            <a:off x="8752984" y="1542806"/>
            <a:ext cx="594671" cy="248876"/>
            <a:chOff x="10029744" y="5103688"/>
            <a:chExt cx="1115633" cy="248876"/>
          </a:xfrm>
        </p:grpSpPr>
        <p:sp>
          <p:nvSpPr>
            <p:cNvPr id="9" name="Скругленный прямоугольник 8">
              <a:extLst>
                <a:ext uri="{FF2B5EF4-FFF2-40B4-BE49-F238E27FC236}">
                  <a16:creationId xmlns:a16="http://schemas.microsoft.com/office/drawing/2014/main" id="{90CBC1C3-80B8-7335-B549-AED53F2CC14D}"/>
                </a:ext>
              </a:extLst>
            </p:cNvPr>
            <p:cNvSpPr/>
            <p:nvPr/>
          </p:nvSpPr>
          <p:spPr>
            <a:xfrm>
              <a:off x="10029744" y="5103688"/>
              <a:ext cx="1115633" cy="248876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411D9142-4F48-F704-67A5-6898D51F9ECA}"/>
                </a:ext>
              </a:extLst>
            </p:cNvPr>
            <p:cNvSpPr/>
            <p:nvPr/>
          </p:nvSpPr>
          <p:spPr>
            <a:xfrm>
              <a:off x="10049741" y="5106343"/>
              <a:ext cx="107563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spc="-12" dirty="0">
                  <a:solidFill>
                    <a:srgbClr val="84E0F7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1764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B6F13-9E20-850A-1A12-83F3DE75D4EE}"/>
              </a:ext>
            </a:extLst>
          </p:cNvPr>
          <p:cNvGrpSpPr/>
          <p:nvPr/>
        </p:nvGrpSpPr>
        <p:grpSpPr>
          <a:xfrm>
            <a:off x="8752984" y="2305143"/>
            <a:ext cx="594671" cy="248876"/>
            <a:chOff x="10029744" y="5103688"/>
            <a:chExt cx="1115633" cy="248876"/>
          </a:xfrm>
        </p:grpSpPr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id="{D4A213CD-A9FA-382E-8205-85CB3EE6D9D5}"/>
                </a:ext>
              </a:extLst>
            </p:cNvPr>
            <p:cNvSpPr/>
            <p:nvPr/>
          </p:nvSpPr>
          <p:spPr>
            <a:xfrm>
              <a:off x="10029744" y="5103688"/>
              <a:ext cx="1115633" cy="248876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A9A84749-2B59-94CE-DDAC-D6C0500BE38B}"/>
                </a:ext>
              </a:extLst>
            </p:cNvPr>
            <p:cNvSpPr/>
            <p:nvPr/>
          </p:nvSpPr>
          <p:spPr>
            <a:xfrm>
              <a:off x="10049741" y="5106343"/>
              <a:ext cx="107563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spc="-12" dirty="0">
                  <a:solidFill>
                    <a:srgbClr val="84E0F7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ПСК</a:t>
              </a:r>
            </a:p>
          </p:txBody>
        </p:sp>
      </p:grp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563D553E-8841-A588-5958-C9233DB243FC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9347655" y="2429581"/>
            <a:ext cx="388759" cy="7653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1965D302-336B-1BAB-7B41-741659D45AF8}"/>
              </a:ext>
            </a:extLst>
          </p:cNvPr>
          <p:cNvGrpSpPr/>
          <p:nvPr/>
        </p:nvGrpSpPr>
        <p:grpSpPr>
          <a:xfrm rot="16200000">
            <a:off x="9230783" y="1932388"/>
            <a:ext cx="1119049" cy="248877"/>
            <a:chOff x="10029742" y="5103688"/>
            <a:chExt cx="2099396" cy="248877"/>
          </a:xfrm>
        </p:grpSpPr>
        <p:sp>
          <p:nvSpPr>
            <p:cNvPr id="36" name="Скругленный прямоугольник 35">
              <a:extLst>
                <a:ext uri="{FF2B5EF4-FFF2-40B4-BE49-F238E27FC236}">
                  <a16:creationId xmlns:a16="http://schemas.microsoft.com/office/drawing/2014/main" id="{8B447D4A-426A-24E2-FDD6-F715513642BA}"/>
                </a:ext>
              </a:extLst>
            </p:cNvPr>
            <p:cNvSpPr/>
            <p:nvPr/>
          </p:nvSpPr>
          <p:spPr>
            <a:xfrm>
              <a:off x="10029742" y="5103688"/>
              <a:ext cx="2099396" cy="248876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23610FC1-E815-B815-70F3-DF60ED69C852}"/>
                </a:ext>
              </a:extLst>
            </p:cNvPr>
            <p:cNvSpPr/>
            <p:nvPr/>
          </p:nvSpPr>
          <p:spPr>
            <a:xfrm>
              <a:off x="10285185" y="5106344"/>
              <a:ext cx="157374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spc="-12" dirty="0">
                  <a:solidFill>
                    <a:srgbClr val="84E0F7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ПСК+1764</a:t>
              </a:r>
            </a:p>
          </p:txBody>
        </p: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19D6592B-4502-2B7F-F705-64E8E4E51A46}"/>
              </a:ext>
            </a:extLst>
          </p:cNvPr>
          <p:cNvSpPr/>
          <p:nvPr/>
        </p:nvSpPr>
        <p:spPr>
          <a:xfrm>
            <a:off x="10000161" y="1640715"/>
            <a:ext cx="19364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defRPr/>
            </a:pPr>
            <a:r>
              <a:rPr lang="ru-RU" sz="1000" dirty="0">
                <a:latin typeface="Segoe UI" panose="020B0502040204020203" pitchFamily="34" charset="0"/>
                <a:cs typeface="Segoe UI" panose="020B0502040204020203" pitchFamily="34" charset="0"/>
              </a:rPr>
              <a:t>В рамках совместной </a:t>
            </a:r>
            <a:br>
              <a:rPr lang="ru-RU" sz="10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ы </a:t>
            </a:r>
            <a:r>
              <a:rPr lang="ru-R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1764 и ПСК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3BC6E3B1-B111-08B9-B4DA-6CBC3B2C0878}"/>
              </a:ext>
            </a:extLst>
          </p:cNvPr>
          <p:cNvSpPr/>
          <p:nvPr/>
        </p:nvSpPr>
        <p:spPr>
          <a:xfrm>
            <a:off x="10000161" y="2056323"/>
            <a:ext cx="20930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defRPr/>
            </a:pPr>
            <a:r>
              <a:rPr lang="ru-RU" sz="1000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е кредитования</a:t>
            </a:r>
          </a:p>
          <a:p>
            <a:pPr marL="0" lvl="1">
              <a:defRPr/>
            </a:pPr>
            <a:r>
              <a:rPr lang="ru-RU" sz="1000" b="1" dirty="0">
                <a:latin typeface="Segoe UI" panose="020B0502040204020203" pitchFamily="34" charset="0"/>
                <a:cs typeface="Segoe UI" panose="020B0502040204020203" pitchFamily="34" charset="0"/>
              </a:rPr>
              <a:t>на инвестиционные цели</a:t>
            </a:r>
          </a:p>
        </p:txBody>
      </p:sp>
    </p:spTree>
    <p:extLst>
      <p:ext uri="{BB962C8B-B14F-4D97-AF65-F5344CB8AC3E}">
        <p14:creationId xmlns:p14="http://schemas.microsoft.com/office/powerpoint/2010/main" val="4288175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0F8B74-3D21-4920-3B9A-5076A13FB9C1}"/>
              </a:ext>
            </a:extLst>
          </p:cNvPr>
          <p:cNvSpPr/>
          <p:nvPr/>
        </p:nvSpPr>
        <p:spPr>
          <a:xfrm>
            <a:off x="-10281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83" name="Slide Number Placeholder 24"/>
          <p:cNvSpPr txBox="1">
            <a:spLocks/>
          </p:cNvSpPr>
          <p:nvPr/>
        </p:nvSpPr>
        <p:spPr>
          <a:xfrm>
            <a:off x="11333981" y="6376228"/>
            <a:ext cx="10038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C48702-E445-134E-B960-6F692773524F}" type="slidenum">
              <a:rPr kumimoji="0" lang="en-US" i="0" u="none" strike="noStrike" kern="1200" cap="none" spc="0" normalizeH="0" baseline="0" noProof="0" smtClean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Open Sans SemiBold" charset="0"/>
                <a:cs typeface="Golos UI" panose="020B0504020202020204" pitchFamily="34" charset="-52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ea typeface="Open Sans SemiBold" charset="0"/>
              <a:cs typeface="Golos UI" panose="020B0504020202020204" pitchFamily="34" charset="-52"/>
            </a:endParaRPr>
          </a:p>
        </p:txBody>
      </p:sp>
      <p:pic>
        <p:nvPicPr>
          <p:cNvPr id="6" name="Picture 2" descr="http://qrcoder.ru/code/?https%3A%2F%2Fmspbank.ru%2Fcredit%2F&amp;4&amp;0">
            <a:extLst>
              <a:ext uri="{FF2B5EF4-FFF2-40B4-BE49-F238E27FC236}">
                <a16:creationId xmlns:a16="http://schemas.microsoft.com/office/drawing/2014/main" id="{C43F1CFF-BA35-3004-46C5-0DA8101047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927" y="150234"/>
            <a:ext cx="1008695" cy="100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94734BF-32CF-BDE6-8698-0CECB732C6D6}"/>
              </a:ext>
            </a:extLst>
          </p:cNvPr>
          <p:cNvSpPr/>
          <p:nvPr/>
        </p:nvSpPr>
        <p:spPr>
          <a:xfrm>
            <a:off x="6319263" y="3009480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мма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90BEE684-7E65-90E0-4790-F8293620461A}"/>
              </a:ext>
            </a:extLst>
          </p:cNvPr>
          <p:cNvSpPr/>
          <p:nvPr/>
        </p:nvSpPr>
        <p:spPr>
          <a:xfrm>
            <a:off x="6323421" y="3605784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рок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F21355A-F7CE-7DB5-0697-CB26EFED0B69}"/>
              </a:ext>
            </a:extLst>
          </p:cNvPr>
          <p:cNvSpPr/>
          <p:nvPr/>
        </p:nvSpPr>
        <p:spPr>
          <a:xfrm>
            <a:off x="6319263" y="4237007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0ED0156-3B54-2182-CB26-6E788CC1AE64}"/>
              </a:ext>
            </a:extLst>
          </p:cNvPr>
          <p:cNvSpPr/>
          <p:nvPr/>
        </p:nvSpPr>
        <p:spPr>
          <a:xfrm>
            <a:off x="6319263" y="4650411"/>
            <a:ext cx="2034321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имущества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4155598-951B-4E41-2499-A9F126B43AB7}"/>
              </a:ext>
            </a:extLst>
          </p:cNvPr>
          <p:cNvSpPr/>
          <p:nvPr/>
        </p:nvSpPr>
        <p:spPr>
          <a:xfrm>
            <a:off x="8015277" y="2765478"/>
            <a:ext cx="366747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</a:t>
            </a:r>
            <a:r>
              <a: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2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0</a:t>
            </a:r>
            <a:r>
              <a: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млн рублей</a:t>
            </a:r>
            <a:endParaRPr lang="ru-RU" sz="1600" spc="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4E33677-FB1F-AD7F-5E18-E3136E924E02}"/>
              </a:ext>
            </a:extLst>
          </p:cNvPr>
          <p:cNvSpPr/>
          <p:nvPr/>
        </p:nvSpPr>
        <p:spPr>
          <a:xfrm>
            <a:off x="8015277" y="3376763"/>
            <a:ext cx="3667476" cy="879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</a:t>
            </a:r>
            <a:r>
              <a: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 </a:t>
            </a:r>
            <a:r>
              <a:rPr lang="ru-RU" sz="32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лет, 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600" spc="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BC0B281-1D8C-B4A3-613C-02E49020C1D6}"/>
              </a:ext>
            </a:extLst>
          </p:cNvPr>
          <p:cNvSpPr/>
          <p:nvPr/>
        </p:nvSpPr>
        <p:spPr>
          <a:xfrm>
            <a:off x="8015277" y="3990786"/>
            <a:ext cx="366747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от</a:t>
            </a:r>
            <a:r>
              <a:rPr lang="ru-RU" sz="3200" spc="7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32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25%</a:t>
            </a:r>
            <a:r>
              <a: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годовых</a:t>
            </a:r>
            <a:r>
              <a:rPr lang="ru-RU" sz="1600" b="1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*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FF5438A-8FAD-19F3-E4FA-F8D8ECF44D36}"/>
              </a:ext>
            </a:extLst>
          </p:cNvPr>
          <p:cNvSpPr/>
          <p:nvPr/>
        </p:nvSpPr>
        <p:spPr>
          <a:xfrm>
            <a:off x="8015277" y="4663394"/>
            <a:ext cx="4003260" cy="15004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без залога (</a:t>
            </a:r>
            <a:r>
              <a:rPr lang="ru-RU" sz="1200" spc="7" dirty="0">
                <a:latin typeface="Segoe UI" panose="020B0502040204020203" pitchFamily="34" charset="0"/>
                <a:cs typeface="Segoe UI" panose="020B0502040204020203" pitchFamily="34" charset="0"/>
              </a:rPr>
              <a:t>кроме экспресс-инвест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без страхования и комиссий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без открытия счета в МСП Банке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отсрочка оплаты основного долга 90 дней (</a:t>
            </a:r>
            <a:r>
              <a:rPr lang="ru-RU" sz="1200" spc="7" dirty="0">
                <a:latin typeface="Segoe UI" panose="020B0502040204020203" pitchFamily="34" charset="0"/>
                <a:cs typeface="Segoe UI" panose="020B0502040204020203" pitchFamily="34" charset="0"/>
              </a:rPr>
              <a:t>для кредитов инвест и франшиза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05248067-CF74-421C-05C5-79DE80BA8494}"/>
              </a:ext>
            </a:extLst>
          </p:cNvPr>
          <p:cNvSpPr/>
          <p:nvPr/>
        </p:nvSpPr>
        <p:spPr>
          <a:xfrm>
            <a:off x="6319263" y="1499138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ль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D6B36BBD-7780-44C2-71E8-E43FC695C1AC}"/>
              </a:ext>
            </a:extLst>
          </p:cNvPr>
          <p:cNvGrpSpPr/>
          <p:nvPr/>
        </p:nvGrpSpPr>
        <p:grpSpPr>
          <a:xfrm>
            <a:off x="6231049" y="1410273"/>
            <a:ext cx="5327305" cy="1207514"/>
            <a:chOff x="6231049" y="1510153"/>
            <a:chExt cx="5327305" cy="120751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AC19636-4A2A-8500-E9FA-DD362D67CE0B}"/>
                </a:ext>
              </a:extLst>
            </p:cNvPr>
            <p:cNvSpPr txBox="1"/>
            <p:nvPr/>
          </p:nvSpPr>
          <p:spPr>
            <a:xfrm>
              <a:off x="7153588" y="2330381"/>
              <a:ext cx="4180393" cy="3872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ts val="2320"/>
                </a:lnSpc>
                <a:buFont typeface="Wingdings" pitchFamily="2" charset="2"/>
                <a:buChar char="§"/>
              </a:pP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на инвестиционные цели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33D6C72-EF7F-358A-2D33-73292F857083}"/>
                </a:ext>
              </a:extLst>
            </p:cNvPr>
            <p:cNvSpPr txBox="1"/>
            <p:nvPr/>
          </p:nvSpPr>
          <p:spPr>
            <a:xfrm>
              <a:off x="7153588" y="2036961"/>
              <a:ext cx="4180393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itchFamily="2" charset="2"/>
                <a:buChar char="§"/>
              </a:pP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на пополнение оборотных средств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D5F7B81-B2FA-31C1-0EC4-8EE873E52EFF}"/>
                </a:ext>
              </a:extLst>
            </p:cNvPr>
            <p:cNvSpPr txBox="1"/>
            <p:nvPr/>
          </p:nvSpPr>
          <p:spPr>
            <a:xfrm>
              <a:off x="6231049" y="1510153"/>
              <a:ext cx="5327305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00150" lvl="2" indent="-285750">
                <a:buFont typeface="Wingdings" pitchFamily="2" charset="2"/>
                <a:buChar char="§"/>
              </a:pP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на развитие предпринимательской</a:t>
              </a:r>
              <a:b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</a:b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деятельности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A137906B-7719-7EB5-922D-45B3DFAA9249}"/>
              </a:ext>
            </a:extLst>
          </p:cNvPr>
          <p:cNvGrpSpPr/>
          <p:nvPr/>
        </p:nvGrpSpPr>
        <p:grpSpPr>
          <a:xfrm>
            <a:off x="289998" y="299044"/>
            <a:ext cx="1765558" cy="276999"/>
            <a:chOff x="9353064" y="5090482"/>
            <a:chExt cx="3312277" cy="276999"/>
          </a:xfrm>
        </p:grpSpPr>
        <p:sp>
          <p:nvSpPr>
            <p:cNvPr id="14" name="Скругленный прямоугольник 13">
              <a:extLst>
                <a:ext uri="{FF2B5EF4-FFF2-40B4-BE49-F238E27FC236}">
                  <a16:creationId xmlns:a16="http://schemas.microsoft.com/office/drawing/2014/main" id="{2B905115-7A7F-2A5F-C437-F4E481E7C093}"/>
                </a:ext>
              </a:extLst>
            </p:cNvPr>
            <p:cNvSpPr/>
            <p:nvPr/>
          </p:nvSpPr>
          <p:spPr>
            <a:xfrm>
              <a:off x="9353064" y="5103688"/>
              <a:ext cx="3312277" cy="248876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8187C437-EA2F-438D-5CD5-73DB6E34B31C}"/>
                </a:ext>
              </a:extLst>
            </p:cNvPr>
            <p:cNvSpPr/>
            <p:nvPr/>
          </p:nvSpPr>
          <p:spPr>
            <a:xfrm>
              <a:off x="10011299" y="5090482"/>
              <a:ext cx="199580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СП Банк</a:t>
              </a: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9151421" y="3290361"/>
            <a:ext cx="23532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r>
              <a:rPr lang="ru-RU" spc="7" dirty="0">
                <a:latin typeface="Segoe UI" panose="020B0502040204020203" pitchFamily="34" charset="0"/>
                <a:cs typeface="Segoe UI" panose="020B0502040204020203" pitchFamily="34" charset="0"/>
              </a:rPr>
              <a:t>лет </a:t>
            </a:r>
            <a:r>
              <a:rPr lang="ru-RU" sz="1000" spc="7" dirty="0">
                <a:latin typeface="Segoe UI" panose="020B0502040204020203" pitchFamily="34" charset="0"/>
                <a:cs typeface="Segoe UI" panose="020B0502040204020203" pitchFamily="34" charset="0"/>
              </a:rPr>
              <a:t>(семилетка для бизнеса)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08475" y="6400303"/>
            <a:ext cx="4826175" cy="331235"/>
          </a:xfrm>
          <a:prstGeom prst="rect">
            <a:avLst/>
          </a:prstGeom>
          <a:noFill/>
        </p:spPr>
        <p:txBody>
          <a:bodyPr wrap="none" lIns="0" tIns="36000" rIns="144000" bIns="36000" rtlCol="0">
            <a:spAutoFit/>
          </a:bodyPr>
          <a:lstStyle/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ru-RU" sz="1400" b="1" dirty="0"/>
              <a:t>* </a:t>
            </a:r>
            <a:r>
              <a:rPr lang="ru-RU" sz="1100" b="1" dirty="0"/>
              <a:t>В рамках ПРОГРАММ Стимулирования кредитования и Господдержки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81128CD-341D-8B21-9AAD-5C8994A8D094}"/>
              </a:ext>
            </a:extLst>
          </p:cNvPr>
          <p:cNvSpPr/>
          <p:nvPr/>
        </p:nvSpPr>
        <p:spPr>
          <a:xfrm>
            <a:off x="278269" y="794674"/>
            <a:ext cx="4626240" cy="48731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5CB63E1-11BE-B1CC-4E3C-D8BCE9FF3C82}"/>
              </a:ext>
            </a:extLst>
          </p:cNvPr>
          <p:cNvSpPr/>
          <p:nvPr/>
        </p:nvSpPr>
        <p:spPr>
          <a:xfrm>
            <a:off x="355908" y="814771"/>
            <a:ext cx="5502282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 smtClean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кспресс-кредиты</a:t>
            </a:r>
            <a:endParaRPr lang="ru-RU" sz="3600" dirty="0">
              <a:solidFill>
                <a:srgbClr val="222222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>
              <a:lnSpc>
                <a:spcPts val="3800"/>
              </a:lnSpc>
            </a:pPr>
            <a:endParaRPr lang="ru-RU" sz="3600" dirty="0">
              <a:solidFill>
                <a:srgbClr val="222222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C138D27-108C-5978-0A2C-92A347D87A27}"/>
              </a:ext>
            </a:extLst>
          </p:cNvPr>
          <p:cNvSpPr/>
          <p:nvPr/>
        </p:nvSpPr>
        <p:spPr>
          <a:xfrm>
            <a:off x="355908" y="1606860"/>
            <a:ext cx="4739286" cy="18912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2786" indent="-342900">
              <a:lnSpc>
                <a:spcPts val="3000"/>
              </a:lnSpc>
              <a:buFont typeface="Wingdings" pitchFamily="2" charset="2"/>
              <a:buChar char="§"/>
            </a:pPr>
            <a:r>
              <a:rPr lang="ru-RU" sz="22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кспресс-поддержка </a:t>
            </a:r>
          </a:p>
          <a:p>
            <a:pPr marL="342900" marR="2786" indent="-342900">
              <a:lnSpc>
                <a:spcPts val="3000"/>
              </a:lnSpc>
              <a:buFont typeface="Wingdings" pitchFamily="2" charset="2"/>
              <a:buChar char="§"/>
            </a:pPr>
            <a:r>
              <a:rPr lang="ru-RU" sz="22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кспресс-оборотный</a:t>
            </a:r>
          </a:p>
          <a:p>
            <a:pPr marL="342900" marR="2786" indent="-342900">
              <a:lnSpc>
                <a:spcPts val="3000"/>
              </a:lnSpc>
              <a:buFont typeface="Wingdings" pitchFamily="2" charset="2"/>
              <a:buChar char="§"/>
            </a:pPr>
            <a:r>
              <a:rPr lang="ru-RU" sz="22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кспресс-</a:t>
            </a:r>
            <a:r>
              <a:rPr lang="ru-RU" sz="2200" dirty="0" err="1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</a:t>
            </a:r>
            <a:endParaRPr lang="en-US" sz="2200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342900" marR="2786" indent="-342900">
              <a:lnSpc>
                <a:spcPts val="3000"/>
              </a:lnSpc>
              <a:buFont typeface="Wingdings" pitchFamily="2" charset="2"/>
              <a:buChar char="§"/>
            </a:pPr>
            <a:r>
              <a:rPr lang="ru-RU" sz="22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кспресс-франшиза</a:t>
            </a:r>
          </a:p>
          <a:p>
            <a:pPr marL="342900" marR="2786" indent="-342900">
              <a:lnSpc>
                <a:spcPts val="3000"/>
              </a:lnSpc>
              <a:buFont typeface="Wingdings" pitchFamily="2" charset="2"/>
              <a:buChar char="§"/>
            </a:pPr>
            <a:r>
              <a:rPr lang="ru-RU" sz="22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емилетка для бизнес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D609119B-79A8-1C3C-0498-A672803FF712}"/>
              </a:ext>
            </a:extLst>
          </p:cNvPr>
          <p:cNvGrpSpPr/>
          <p:nvPr/>
        </p:nvGrpSpPr>
        <p:grpSpPr>
          <a:xfrm>
            <a:off x="7922596" y="345197"/>
            <a:ext cx="2120767" cy="385214"/>
            <a:chOff x="9808833" y="303241"/>
            <a:chExt cx="2036610" cy="369928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95CFCCDE-4DB5-726E-B1F4-0FBACABAF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8266" y="303241"/>
              <a:ext cx="707177" cy="369928"/>
            </a:xfrm>
            <a:custGeom>
              <a:avLst/>
              <a:gdLst>
                <a:gd name="T0" fmla="*/ 1659 w 7571"/>
                <a:gd name="T1" fmla="*/ 1021 h 3962"/>
                <a:gd name="T2" fmla="*/ 1348 w 7571"/>
                <a:gd name="T3" fmla="*/ 1288 h 3962"/>
                <a:gd name="T4" fmla="*/ 1527 w 7571"/>
                <a:gd name="T5" fmla="*/ 1677 h 3962"/>
                <a:gd name="T6" fmla="*/ 1925 w 7571"/>
                <a:gd name="T7" fmla="*/ 1557 h 3962"/>
                <a:gd name="T8" fmla="*/ 1889 w 7571"/>
                <a:gd name="T9" fmla="*/ 1116 h 3962"/>
                <a:gd name="T10" fmla="*/ 1636 w 7571"/>
                <a:gd name="T11" fmla="*/ 1583 h 3962"/>
                <a:gd name="T12" fmla="*/ 1475 w 7571"/>
                <a:gd name="T13" fmla="*/ 1361 h 3962"/>
                <a:gd name="T14" fmla="*/ 1614 w 7571"/>
                <a:gd name="T15" fmla="*/ 1143 h 3962"/>
                <a:gd name="T16" fmla="*/ 1830 w 7571"/>
                <a:gd name="T17" fmla="*/ 1270 h 3962"/>
                <a:gd name="T18" fmla="*/ 2688 w 7571"/>
                <a:gd name="T19" fmla="*/ 1361 h 3962"/>
                <a:gd name="T20" fmla="*/ 2459 w 7571"/>
                <a:gd name="T21" fmla="*/ 1027 h 3962"/>
                <a:gd name="T22" fmla="*/ 2229 w 7571"/>
                <a:gd name="T23" fmla="*/ 1648 h 3962"/>
                <a:gd name="T24" fmla="*/ 2610 w 7571"/>
                <a:gd name="T25" fmla="*/ 1604 h 3962"/>
                <a:gd name="T26" fmla="*/ 2289 w 7571"/>
                <a:gd name="T27" fmla="*/ 1567 h 3962"/>
                <a:gd name="T28" fmla="*/ 2209 w 7571"/>
                <a:gd name="T29" fmla="*/ 1298 h 3962"/>
                <a:gd name="T30" fmla="*/ 2390 w 7571"/>
                <a:gd name="T31" fmla="*/ 1135 h 3962"/>
                <a:gd name="T32" fmla="*/ 2555 w 7571"/>
                <a:gd name="T33" fmla="*/ 1330 h 3962"/>
                <a:gd name="T34" fmla="*/ 3227 w 7571"/>
                <a:gd name="T35" fmla="*/ 1684 h 3962"/>
                <a:gd name="T36" fmla="*/ 3656 w 7571"/>
                <a:gd name="T37" fmla="*/ 1045 h 3962"/>
                <a:gd name="T38" fmla="*/ 3475 w 7571"/>
                <a:gd name="T39" fmla="*/ 1432 h 3962"/>
                <a:gd name="T40" fmla="*/ 3785 w 7571"/>
                <a:gd name="T41" fmla="*/ 1701 h 3962"/>
                <a:gd name="T42" fmla="*/ 4097 w 7571"/>
                <a:gd name="T43" fmla="*/ 1433 h 3962"/>
                <a:gd name="T44" fmla="*/ 3924 w 7571"/>
                <a:gd name="T45" fmla="*/ 1522 h 3962"/>
                <a:gd name="T46" fmla="*/ 3698 w 7571"/>
                <a:gd name="T47" fmla="*/ 1565 h 3962"/>
                <a:gd name="T48" fmla="*/ 3614 w 7571"/>
                <a:gd name="T49" fmla="*/ 1271 h 3962"/>
                <a:gd name="T50" fmla="*/ 3839 w 7571"/>
                <a:gd name="T51" fmla="*/ 1144 h 3962"/>
                <a:gd name="T52" fmla="*/ 3967 w 7571"/>
                <a:gd name="T53" fmla="*/ 1408 h 3962"/>
                <a:gd name="T54" fmla="*/ 4401 w 7571"/>
                <a:gd name="T55" fmla="*/ 1046 h 3962"/>
                <a:gd name="T56" fmla="*/ 4525 w 7571"/>
                <a:gd name="T57" fmla="*/ 1701 h 3962"/>
                <a:gd name="T58" fmla="*/ 4810 w 7571"/>
                <a:gd name="T59" fmla="*/ 1430 h 3962"/>
                <a:gd name="T60" fmla="*/ 4664 w 7571"/>
                <a:gd name="T61" fmla="*/ 1476 h 3962"/>
                <a:gd name="T62" fmla="*/ 4439 w 7571"/>
                <a:gd name="T63" fmla="*/ 1578 h 3962"/>
                <a:gd name="T64" fmla="*/ 4333 w 7571"/>
                <a:gd name="T65" fmla="*/ 1329 h 3962"/>
                <a:gd name="T66" fmla="*/ 4488 w 7571"/>
                <a:gd name="T67" fmla="*/ 1135 h 3962"/>
                <a:gd name="T68" fmla="*/ 4678 w 7571"/>
                <a:gd name="T69" fmla="*/ 1300 h 3962"/>
                <a:gd name="T70" fmla="*/ 5343 w 7571"/>
                <a:gd name="T71" fmla="*/ 1050 h 3962"/>
                <a:gd name="T72" fmla="*/ 4947 w 7571"/>
                <a:gd name="T73" fmla="*/ 1144 h 3962"/>
                <a:gd name="T74" fmla="*/ 5210 w 7571"/>
                <a:gd name="T75" fmla="*/ 1137 h 3962"/>
                <a:gd name="T76" fmla="*/ 5205 w 7571"/>
                <a:gd name="T77" fmla="*/ 1286 h 3962"/>
                <a:gd name="T78" fmla="*/ 4906 w 7571"/>
                <a:gd name="T79" fmla="*/ 1452 h 3962"/>
                <a:gd name="T80" fmla="*/ 4997 w 7571"/>
                <a:gd name="T81" fmla="*/ 1676 h 3962"/>
                <a:gd name="T82" fmla="*/ 5322 w 7571"/>
                <a:gd name="T83" fmla="*/ 1623 h 3962"/>
                <a:gd name="T84" fmla="*/ 5286 w 7571"/>
                <a:gd name="T85" fmla="*/ 1540 h 3962"/>
                <a:gd name="T86" fmla="*/ 5036 w 7571"/>
                <a:gd name="T87" fmla="*/ 1553 h 3962"/>
                <a:gd name="T88" fmla="*/ 5202 w 7571"/>
                <a:gd name="T89" fmla="*/ 1392 h 3962"/>
                <a:gd name="T90" fmla="*/ 5603 w 7571"/>
                <a:gd name="T91" fmla="*/ 1039 h 3962"/>
                <a:gd name="T92" fmla="*/ 7290 w 7571"/>
                <a:gd name="T93" fmla="*/ 1040 h 3962"/>
                <a:gd name="T94" fmla="*/ 7038 w 7571"/>
                <a:gd name="T95" fmla="*/ 1231 h 3962"/>
                <a:gd name="T96" fmla="*/ 7306 w 7571"/>
                <a:gd name="T97" fmla="*/ 1460 h 3962"/>
                <a:gd name="T98" fmla="*/ 7200 w 7571"/>
                <a:gd name="T99" fmla="*/ 1330 h 3962"/>
                <a:gd name="T100" fmla="*/ 7230 w 7571"/>
                <a:gd name="T101" fmla="*/ 1151 h 3962"/>
                <a:gd name="T102" fmla="*/ 1375 w 7571"/>
                <a:gd name="T103" fmla="*/ 2830 h 3962"/>
                <a:gd name="T104" fmla="*/ 2174 w 7571"/>
                <a:gd name="T105" fmla="*/ 2281 h 3962"/>
                <a:gd name="T106" fmla="*/ 2299 w 7571"/>
                <a:gd name="T107" fmla="*/ 2251 h 3962"/>
                <a:gd name="T108" fmla="*/ 1975 w 7571"/>
                <a:gd name="T109" fmla="*/ 2072 h 3962"/>
                <a:gd name="T110" fmla="*/ 1628 w 7571"/>
                <a:gd name="T111" fmla="*/ 2268 h 3962"/>
                <a:gd name="T112" fmla="*/ 1765 w 7571"/>
                <a:gd name="T113" fmla="*/ 2854 h 3962"/>
                <a:gd name="T114" fmla="*/ 2202 w 7571"/>
                <a:gd name="T115" fmla="*/ 2969 h 3962"/>
                <a:gd name="T116" fmla="*/ 2262 w 7571"/>
                <a:gd name="T117" fmla="*/ 2712 h 3962"/>
                <a:gd name="T118" fmla="*/ 1943 w 7571"/>
                <a:gd name="T119" fmla="*/ 2836 h 3962"/>
                <a:gd name="T120" fmla="*/ 1732 w 7571"/>
                <a:gd name="T121" fmla="*/ 2471 h 3962"/>
                <a:gd name="T122" fmla="*/ 3192 w 7571"/>
                <a:gd name="T123" fmla="*/ 2331 h 3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71" h="3962">
                  <a:moveTo>
                    <a:pt x="764" y="1273"/>
                  </a:moveTo>
                  <a:lnTo>
                    <a:pt x="1147" y="1684"/>
                  </a:lnTo>
                  <a:lnTo>
                    <a:pt x="1307" y="1684"/>
                  </a:lnTo>
                  <a:lnTo>
                    <a:pt x="898" y="1243"/>
                  </a:lnTo>
                  <a:lnTo>
                    <a:pt x="1279" y="824"/>
                  </a:lnTo>
                  <a:lnTo>
                    <a:pt x="1123" y="824"/>
                  </a:lnTo>
                  <a:lnTo>
                    <a:pt x="764" y="1225"/>
                  </a:lnTo>
                  <a:lnTo>
                    <a:pt x="764" y="824"/>
                  </a:lnTo>
                  <a:lnTo>
                    <a:pt x="639" y="824"/>
                  </a:lnTo>
                  <a:lnTo>
                    <a:pt x="639" y="1684"/>
                  </a:lnTo>
                  <a:lnTo>
                    <a:pt x="764" y="1684"/>
                  </a:lnTo>
                  <a:lnTo>
                    <a:pt x="764" y="1273"/>
                  </a:lnTo>
                  <a:close/>
                  <a:moveTo>
                    <a:pt x="1826" y="1064"/>
                  </a:moveTo>
                  <a:lnTo>
                    <a:pt x="1808" y="1055"/>
                  </a:lnTo>
                  <a:lnTo>
                    <a:pt x="1789" y="1046"/>
                  </a:lnTo>
                  <a:lnTo>
                    <a:pt x="1770" y="1039"/>
                  </a:lnTo>
                  <a:lnTo>
                    <a:pt x="1748" y="1032"/>
                  </a:lnTo>
                  <a:lnTo>
                    <a:pt x="1727" y="1027"/>
                  </a:lnTo>
                  <a:lnTo>
                    <a:pt x="1704" y="1024"/>
                  </a:lnTo>
                  <a:lnTo>
                    <a:pt x="1682" y="1021"/>
                  </a:lnTo>
                  <a:lnTo>
                    <a:pt x="1659" y="1021"/>
                  </a:lnTo>
                  <a:lnTo>
                    <a:pt x="1635" y="1021"/>
                  </a:lnTo>
                  <a:lnTo>
                    <a:pt x="1612" y="1024"/>
                  </a:lnTo>
                  <a:lnTo>
                    <a:pt x="1590" y="1027"/>
                  </a:lnTo>
                  <a:lnTo>
                    <a:pt x="1569" y="1032"/>
                  </a:lnTo>
                  <a:lnTo>
                    <a:pt x="1549" y="1037"/>
                  </a:lnTo>
                  <a:lnTo>
                    <a:pt x="1530" y="1045"/>
                  </a:lnTo>
                  <a:lnTo>
                    <a:pt x="1510" y="1053"/>
                  </a:lnTo>
                  <a:lnTo>
                    <a:pt x="1492" y="1064"/>
                  </a:lnTo>
                  <a:lnTo>
                    <a:pt x="1475" y="1075"/>
                  </a:lnTo>
                  <a:lnTo>
                    <a:pt x="1459" y="1088"/>
                  </a:lnTo>
                  <a:lnTo>
                    <a:pt x="1443" y="1100"/>
                  </a:lnTo>
                  <a:lnTo>
                    <a:pt x="1429" y="1115"/>
                  </a:lnTo>
                  <a:lnTo>
                    <a:pt x="1415" y="1130"/>
                  </a:lnTo>
                  <a:lnTo>
                    <a:pt x="1404" y="1147"/>
                  </a:lnTo>
                  <a:lnTo>
                    <a:pt x="1392" y="1164"/>
                  </a:lnTo>
                  <a:lnTo>
                    <a:pt x="1382" y="1184"/>
                  </a:lnTo>
                  <a:lnTo>
                    <a:pt x="1373" y="1203"/>
                  </a:lnTo>
                  <a:lnTo>
                    <a:pt x="1364" y="1223"/>
                  </a:lnTo>
                  <a:lnTo>
                    <a:pt x="1358" y="1245"/>
                  </a:lnTo>
                  <a:lnTo>
                    <a:pt x="1352" y="1266"/>
                  </a:lnTo>
                  <a:lnTo>
                    <a:pt x="1348" y="1288"/>
                  </a:lnTo>
                  <a:lnTo>
                    <a:pt x="1345" y="1312"/>
                  </a:lnTo>
                  <a:lnTo>
                    <a:pt x="1343" y="1336"/>
                  </a:lnTo>
                  <a:lnTo>
                    <a:pt x="1343" y="1361"/>
                  </a:lnTo>
                  <a:lnTo>
                    <a:pt x="1343" y="1385"/>
                  </a:lnTo>
                  <a:lnTo>
                    <a:pt x="1345" y="1410"/>
                  </a:lnTo>
                  <a:lnTo>
                    <a:pt x="1348" y="1432"/>
                  </a:lnTo>
                  <a:lnTo>
                    <a:pt x="1352" y="1455"/>
                  </a:lnTo>
                  <a:lnTo>
                    <a:pt x="1358" y="1477"/>
                  </a:lnTo>
                  <a:lnTo>
                    <a:pt x="1364" y="1499"/>
                  </a:lnTo>
                  <a:lnTo>
                    <a:pt x="1372" y="1519"/>
                  </a:lnTo>
                  <a:lnTo>
                    <a:pt x="1381" y="1538"/>
                  </a:lnTo>
                  <a:lnTo>
                    <a:pt x="1391" y="1556"/>
                  </a:lnTo>
                  <a:lnTo>
                    <a:pt x="1403" y="1574"/>
                  </a:lnTo>
                  <a:lnTo>
                    <a:pt x="1414" y="1590"/>
                  </a:lnTo>
                  <a:lnTo>
                    <a:pt x="1427" y="1606"/>
                  </a:lnTo>
                  <a:lnTo>
                    <a:pt x="1442" y="1621"/>
                  </a:lnTo>
                  <a:lnTo>
                    <a:pt x="1457" y="1634"/>
                  </a:lnTo>
                  <a:lnTo>
                    <a:pt x="1473" y="1647"/>
                  </a:lnTo>
                  <a:lnTo>
                    <a:pt x="1490" y="1659"/>
                  </a:lnTo>
                  <a:lnTo>
                    <a:pt x="1508" y="1668"/>
                  </a:lnTo>
                  <a:lnTo>
                    <a:pt x="1527" y="1677"/>
                  </a:lnTo>
                  <a:lnTo>
                    <a:pt x="1548" y="1684"/>
                  </a:lnTo>
                  <a:lnTo>
                    <a:pt x="1568" y="1691"/>
                  </a:lnTo>
                  <a:lnTo>
                    <a:pt x="1589" y="1696"/>
                  </a:lnTo>
                  <a:lnTo>
                    <a:pt x="1612" y="1699"/>
                  </a:lnTo>
                  <a:lnTo>
                    <a:pt x="1634" y="1701"/>
                  </a:lnTo>
                  <a:lnTo>
                    <a:pt x="1659" y="1701"/>
                  </a:lnTo>
                  <a:lnTo>
                    <a:pt x="1682" y="1701"/>
                  </a:lnTo>
                  <a:lnTo>
                    <a:pt x="1704" y="1699"/>
                  </a:lnTo>
                  <a:lnTo>
                    <a:pt x="1727" y="1696"/>
                  </a:lnTo>
                  <a:lnTo>
                    <a:pt x="1748" y="1691"/>
                  </a:lnTo>
                  <a:lnTo>
                    <a:pt x="1768" y="1685"/>
                  </a:lnTo>
                  <a:lnTo>
                    <a:pt x="1789" y="1678"/>
                  </a:lnTo>
                  <a:lnTo>
                    <a:pt x="1807" y="1668"/>
                  </a:lnTo>
                  <a:lnTo>
                    <a:pt x="1825" y="1659"/>
                  </a:lnTo>
                  <a:lnTo>
                    <a:pt x="1842" y="1647"/>
                  </a:lnTo>
                  <a:lnTo>
                    <a:pt x="1859" y="1635"/>
                  </a:lnTo>
                  <a:lnTo>
                    <a:pt x="1874" y="1621"/>
                  </a:lnTo>
                  <a:lnTo>
                    <a:pt x="1888" y="1607"/>
                  </a:lnTo>
                  <a:lnTo>
                    <a:pt x="1902" y="1591"/>
                  </a:lnTo>
                  <a:lnTo>
                    <a:pt x="1914" y="1574"/>
                  </a:lnTo>
                  <a:lnTo>
                    <a:pt x="1925" y="1557"/>
                  </a:lnTo>
                  <a:lnTo>
                    <a:pt x="1935" y="1538"/>
                  </a:lnTo>
                  <a:lnTo>
                    <a:pt x="1944" y="1519"/>
                  </a:lnTo>
                  <a:lnTo>
                    <a:pt x="1953" y="1499"/>
                  </a:lnTo>
                  <a:lnTo>
                    <a:pt x="1959" y="1477"/>
                  </a:lnTo>
                  <a:lnTo>
                    <a:pt x="1965" y="1456"/>
                  </a:lnTo>
                  <a:lnTo>
                    <a:pt x="1969" y="1433"/>
                  </a:lnTo>
                  <a:lnTo>
                    <a:pt x="1972" y="1410"/>
                  </a:lnTo>
                  <a:lnTo>
                    <a:pt x="1974" y="1385"/>
                  </a:lnTo>
                  <a:lnTo>
                    <a:pt x="1974" y="1361"/>
                  </a:lnTo>
                  <a:lnTo>
                    <a:pt x="1974" y="1336"/>
                  </a:lnTo>
                  <a:lnTo>
                    <a:pt x="1972" y="1313"/>
                  </a:lnTo>
                  <a:lnTo>
                    <a:pt x="1969" y="1289"/>
                  </a:lnTo>
                  <a:lnTo>
                    <a:pt x="1965" y="1267"/>
                  </a:lnTo>
                  <a:lnTo>
                    <a:pt x="1959" y="1246"/>
                  </a:lnTo>
                  <a:lnTo>
                    <a:pt x="1953" y="1224"/>
                  </a:lnTo>
                  <a:lnTo>
                    <a:pt x="1944" y="1204"/>
                  </a:lnTo>
                  <a:lnTo>
                    <a:pt x="1936" y="1185"/>
                  </a:lnTo>
                  <a:lnTo>
                    <a:pt x="1925" y="1167"/>
                  </a:lnTo>
                  <a:lnTo>
                    <a:pt x="1915" y="1148"/>
                  </a:lnTo>
                  <a:lnTo>
                    <a:pt x="1902" y="1132"/>
                  </a:lnTo>
                  <a:lnTo>
                    <a:pt x="1889" y="1116"/>
                  </a:lnTo>
                  <a:lnTo>
                    <a:pt x="1875" y="1102"/>
                  </a:lnTo>
                  <a:lnTo>
                    <a:pt x="1859" y="1089"/>
                  </a:lnTo>
                  <a:lnTo>
                    <a:pt x="1843" y="1076"/>
                  </a:lnTo>
                  <a:lnTo>
                    <a:pt x="1826" y="1064"/>
                  </a:lnTo>
                  <a:close/>
                  <a:moveTo>
                    <a:pt x="1796" y="1522"/>
                  </a:moveTo>
                  <a:lnTo>
                    <a:pt x="1796" y="1522"/>
                  </a:lnTo>
                  <a:lnTo>
                    <a:pt x="1791" y="1530"/>
                  </a:lnTo>
                  <a:lnTo>
                    <a:pt x="1784" y="1536"/>
                  </a:lnTo>
                  <a:lnTo>
                    <a:pt x="1778" y="1543"/>
                  </a:lnTo>
                  <a:lnTo>
                    <a:pt x="1771" y="1549"/>
                  </a:lnTo>
                  <a:lnTo>
                    <a:pt x="1763" y="1555"/>
                  </a:lnTo>
                  <a:lnTo>
                    <a:pt x="1756" y="1559"/>
                  </a:lnTo>
                  <a:lnTo>
                    <a:pt x="1747" y="1565"/>
                  </a:lnTo>
                  <a:lnTo>
                    <a:pt x="1739" y="1569"/>
                  </a:lnTo>
                  <a:lnTo>
                    <a:pt x="1730" y="1572"/>
                  </a:lnTo>
                  <a:lnTo>
                    <a:pt x="1720" y="1575"/>
                  </a:lnTo>
                  <a:lnTo>
                    <a:pt x="1711" y="1579"/>
                  </a:lnTo>
                  <a:lnTo>
                    <a:pt x="1701" y="1581"/>
                  </a:lnTo>
                  <a:lnTo>
                    <a:pt x="1681" y="1583"/>
                  </a:lnTo>
                  <a:lnTo>
                    <a:pt x="1659" y="1584"/>
                  </a:lnTo>
                  <a:lnTo>
                    <a:pt x="1636" y="1583"/>
                  </a:lnTo>
                  <a:lnTo>
                    <a:pt x="1616" y="1581"/>
                  </a:lnTo>
                  <a:lnTo>
                    <a:pt x="1606" y="1579"/>
                  </a:lnTo>
                  <a:lnTo>
                    <a:pt x="1597" y="1575"/>
                  </a:lnTo>
                  <a:lnTo>
                    <a:pt x="1587" y="1572"/>
                  </a:lnTo>
                  <a:lnTo>
                    <a:pt x="1579" y="1569"/>
                  </a:lnTo>
                  <a:lnTo>
                    <a:pt x="1570" y="1565"/>
                  </a:lnTo>
                  <a:lnTo>
                    <a:pt x="1563" y="1560"/>
                  </a:lnTo>
                  <a:lnTo>
                    <a:pt x="1555" y="1555"/>
                  </a:lnTo>
                  <a:lnTo>
                    <a:pt x="1548" y="1550"/>
                  </a:lnTo>
                  <a:lnTo>
                    <a:pt x="1540" y="1544"/>
                  </a:lnTo>
                  <a:lnTo>
                    <a:pt x="1534" y="1538"/>
                  </a:lnTo>
                  <a:lnTo>
                    <a:pt x="1527" y="1531"/>
                  </a:lnTo>
                  <a:lnTo>
                    <a:pt x="1521" y="1523"/>
                  </a:lnTo>
                  <a:lnTo>
                    <a:pt x="1510" y="1507"/>
                  </a:lnTo>
                  <a:lnTo>
                    <a:pt x="1501" y="1490"/>
                  </a:lnTo>
                  <a:lnTo>
                    <a:pt x="1493" y="1472"/>
                  </a:lnTo>
                  <a:lnTo>
                    <a:pt x="1487" y="1453"/>
                  </a:lnTo>
                  <a:lnTo>
                    <a:pt x="1482" y="1431"/>
                  </a:lnTo>
                  <a:lnTo>
                    <a:pt x="1478" y="1409"/>
                  </a:lnTo>
                  <a:lnTo>
                    <a:pt x="1476" y="1385"/>
                  </a:lnTo>
                  <a:lnTo>
                    <a:pt x="1475" y="1361"/>
                  </a:lnTo>
                  <a:lnTo>
                    <a:pt x="1475" y="1345"/>
                  </a:lnTo>
                  <a:lnTo>
                    <a:pt x="1476" y="1329"/>
                  </a:lnTo>
                  <a:lnTo>
                    <a:pt x="1477" y="1314"/>
                  </a:lnTo>
                  <a:lnTo>
                    <a:pt x="1479" y="1299"/>
                  </a:lnTo>
                  <a:lnTo>
                    <a:pt x="1483" y="1285"/>
                  </a:lnTo>
                  <a:lnTo>
                    <a:pt x="1486" y="1271"/>
                  </a:lnTo>
                  <a:lnTo>
                    <a:pt x="1490" y="1258"/>
                  </a:lnTo>
                  <a:lnTo>
                    <a:pt x="1494" y="1246"/>
                  </a:lnTo>
                  <a:lnTo>
                    <a:pt x="1500" y="1233"/>
                  </a:lnTo>
                  <a:lnTo>
                    <a:pt x="1506" y="1222"/>
                  </a:lnTo>
                  <a:lnTo>
                    <a:pt x="1512" y="1211"/>
                  </a:lnTo>
                  <a:lnTo>
                    <a:pt x="1520" y="1201"/>
                  </a:lnTo>
                  <a:lnTo>
                    <a:pt x="1527" y="1191"/>
                  </a:lnTo>
                  <a:lnTo>
                    <a:pt x="1536" y="1183"/>
                  </a:lnTo>
                  <a:lnTo>
                    <a:pt x="1546" y="1174"/>
                  </a:lnTo>
                  <a:lnTo>
                    <a:pt x="1555" y="1167"/>
                  </a:lnTo>
                  <a:lnTo>
                    <a:pt x="1566" y="1160"/>
                  </a:lnTo>
                  <a:lnTo>
                    <a:pt x="1576" y="1155"/>
                  </a:lnTo>
                  <a:lnTo>
                    <a:pt x="1588" y="1150"/>
                  </a:lnTo>
                  <a:lnTo>
                    <a:pt x="1601" y="1145"/>
                  </a:lnTo>
                  <a:lnTo>
                    <a:pt x="1614" y="1143"/>
                  </a:lnTo>
                  <a:lnTo>
                    <a:pt x="1628" y="1140"/>
                  </a:lnTo>
                  <a:lnTo>
                    <a:pt x="1643" y="1139"/>
                  </a:lnTo>
                  <a:lnTo>
                    <a:pt x="1659" y="1139"/>
                  </a:lnTo>
                  <a:lnTo>
                    <a:pt x="1680" y="1140"/>
                  </a:lnTo>
                  <a:lnTo>
                    <a:pt x="1701" y="1142"/>
                  </a:lnTo>
                  <a:lnTo>
                    <a:pt x="1711" y="1144"/>
                  </a:lnTo>
                  <a:lnTo>
                    <a:pt x="1720" y="1147"/>
                  </a:lnTo>
                  <a:lnTo>
                    <a:pt x="1729" y="1151"/>
                  </a:lnTo>
                  <a:lnTo>
                    <a:pt x="1739" y="1154"/>
                  </a:lnTo>
                  <a:lnTo>
                    <a:pt x="1747" y="1158"/>
                  </a:lnTo>
                  <a:lnTo>
                    <a:pt x="1755" y="1162"/>
                  </a:lnTo>
                  <a:lnTo>
                    <a:pt x="1762" y="1168"/>
                  </a:lnTo>
                  <a:lnTo>
                    <a:pt x="1770" y="1173"/>
                  </a:lnTo>
                  <a:lnTo>
                    <a:pt x="1777" y="1178"/>
                  </a:lnTo>
                  <a:lnTo>
                    <a:pt x="1783" y="1185"/>
                  </a:lnTo>
                  <a:lnTo>
                    <a:pt x="1790" y="1192"/>
                  </a:lnTo>
                  <a:lnTo>
                    <a:pt x="1796" y="1200"/>
                  </a:lnTo>
                  <a:lnTo>
                    <a:pt x="1807" y="1215"/>
                  </a:lnTo>
                  <a:lnTo>
                    <a:pt x="1816" y="1232"/>
                  </a:lnTo>
                  <a:lnTo>
                    <a:pt x="1824" y="1251"/>
                  </a:lnTo>
                  <a:lnTo>
                    <a:pt x="1830" y="1270"/>
                  </a:lnTo>
                  <a:lnTo>
                    <a:pt x="1836" y="1290"/>
                  </a:lnTo>
                  <a:lnTo>
                    <a:pt x="1839" y="1313"/>
                  </a:lnTo>
                  <a:lnTo>
                    <a:pt x="1841" y="1336"/>
                  </a:lnTo>
                  <a:lnTo>
                    <a:pt x="1842" y="1361"/>
                  </a:lnTo>
                  <a:lnTo>
                    <a:pt x="1841" y="1385"/>
                  </a:lnTo>
                  <a:lnTo>
                    <a:pt x="1839" y="1408"/>
                  </a:lnTo>
                  <a:lnTo>
                    <a:pt x="1836" y="1429"/>
                  </a:lnTo>
                  <a:lnTo>
                    <a:pt x="1830" y="1451"/>
                  </a:lnTo>
                  <a:lnTo>
                    <a:pt x="1824" y="1470"/>
                  </a:lnTo>
                  <a:lnTo>
                    <a:pt x="1816" y="1488"/>
                  </a:lnTo>
                  <a:lnTo>
                    <a:pt x="1807" y="1506"/>
                  </a:lnTo>
                  <a:lnTo>
                    <a:pt x="1796" y="1522"/>
                  </a:lnTo>
                  <a:close/>
                  <a:moveTo>
                    <a:pt x="2653" y="1535"/>
                  </a:moveTo>
                  <a:lnTo>
                    <a:pt x="2661" y="1516"/>
                  </a:lnTo>
                  <a:lnTo>
                    <a:pt x="2669" y="1495"/>
                  </a:lnTo>
                  <a:lnTo>
                    <a:pt x="2674" y="1474"/>
                  </a:lnTo>
                  <a:lnTo>
                    <a:pt x="2679" y="1453"/>
                  </a:lnTo>
                  <a:lnTo>
                    <a:pt x="2684" y="1430"/>
                  </a:lnTo>
                  <a:lnTo>
                    <a:pt x="2686" y="1408"/>
                  </a:lnTo>
                  <a:lnTo>
                    <a:pt x="2688" y="1384"/>
                  </a:lnTo>
                  <a:lnTo>
                    <a:pt x="2688" y="1361"/>
                  </a:lnTo>
                  <a:lnTo>
                    <a:pt x="2688" y="1336"/>
                  </a:lnTo>
                  <a:lnTo>
                    <a:pt x="2686" y="1314"/>
                  </a:lnTo>
                  <a:lnTo>
                    <a:pt x="2684" y="1290"/>
                  </a:lnTo>
                  <a:lnTo>
                    <a:pt x="2679" y="1269"/>
                  </a:lnTo>
                  <a:lnTo>
                    <a:pt x="2674" y="1248"/>
                  </a:lnTo>
                  <a:lnTo>
                    <a:pt x="2668" y="1226"/>
                  </a:lnTo>
                  <a:lnTo>
                    <a:pt x="2661" y="1206"/>
                  </a:lnTo>
                  <a:lnTo>
                    <a:pt x="2653" y="1187"/>
                  </a:lnTo>
                  <a:lnTo>
                    <a:pt x="2643" y="1168"/>
                  </a:lnTo>
                  <a:lnTo>
                    <a:pt x="2632" y="1151"/>
                  </a:lnTo>
                  <a:lnTo>
                    <a:pt x="2622" y="1134"/>
                  </a:lnTo>
                  <a:lnTo>
                    <a:pt x="2609" y="1119"/>
                  </a:lnTo>
                  <a:lnTo>
                    <a:pt x="2596" y="1104"/>
                  </a:lnTo>
                  <a:lnTo>
                    <a:pt x="2582" y="1090"/>
                  </a:lnTo>
                  <a:lnTo>
                    <a:pt x="2566" y="1077"/>
                  </a:lnTo>
                  <a:lnTo>
                    <a:pt x="2550" y="1065"/>
                  </a:lnTo>
                  <a:lnTo>
                    <a:pt x="2534" y="1056"/>
                  </a:lnTo>
                  <a:lnTo>
                    <a:pt x="2516" y="1046"/>
                  </a:lnTo>
                  <a:lnTo>
                    <a:pt x="2498" y="1039"/>
                  </a:lnTo>
                  <a:lnTo>
                    <a:pt x="2479" y="1032"/>
                  </a:lnTo>
                  <a:lnTo>
                    <a:pt x="2459" y="1027"/>
                  </a:lnTo>
                  <a:lnTo>
                    <a:pt x="2438" y="1024"/>
                  </a:lnTo>
                  <a:lnTo>
                    <a:pt x="2416" y="1021"/>
                  </a:lnTo>
                  <a:lnTo>
                    <a:pt x="2394" y="1021"/>
                  </a:lnTo>
                  <a:lnTo>
                    <a:pt x="2372" y="1021"/>
                  </a:lnTo>
                  <a:lnTo>
                    <a:pt x="2350" y="1024"/>
                  </a:lnTo>
                  <a:lnTo>
                    <a:pt x="2330" y="1027"/>
                  </a:lnTo>
                  <a:lnTo>
                    <a:pt x="2310" y="1032"/>
                  </a:lnTo>
                  <a:lnTo>
                    <a:pt x="2291" y="1039"/>
                  </a:lnTo>
                  <a:lnTo>
                    <a:pt x="2273" y="1046"/>
                  </a:lnTo>
                  <a:lnTo>
                    <a:pt x="2256" y="1056"/>
                  </a:lnTo>
                  <a:lnTo>
                    <a:pt x="2240" y="1065"/>
                  </a:lnTo>
                  <a:lnTo>
                    <a:pt x="2230" y="1073"/>
                  </a:lnTo>
                  <a:lnTo>
                    <a:pt x="2222" y="1080"/>
                  </a:lnTo>
                  <a:lnTo>
                    <a:pt x="2213" y="1089"/>
                  </a:lnTo>
                  <a:lnTo>
                    <a:pt x="2205" y="1097"/>
                  </a:lnTo>
                  <a:lnTo>
                    <a:pt x="2205" y="1039"/>
                  </a:lnTo>
                  <a:lnTo>
                    <a:pt x="2094" y="1039"/>
                  </a:lnTo>
                  <a:lnTo>
                    <a:pt x="2094" y="1970"/>
                  </a:lnTo>
                  <a:lnTo>
                    <a:pt x="2219" y="1970"/>
                  </a:lnTo>
                  <a:lnTo>
                    <a:pt x="2219" y="1637"/>
                  </a:lnTo>
                  <a:lnTo>
                    <a:pt x="2229" y="1648"/>
                  </a:lnTo>
                  <a:lnTo>
                    <a:pt x="2241" y="1657"/>
                  </a:lnTo>
                  <a:lnTo>
                    <a:pt x="2257" y="1667"/>
                  </a:lnTo>
                  <a:lnTo>
                    <a:pt x="2274" y="1677"/>
                  </a:lnTo>
                  <a:lnTo>
                    <a:pt x="2292" y="1684"/>
                  </a:lnTo>
                  <a:lnTo>
                    <a:pt x="2311" y="1691"/>
                  </a:lnTo>
                  <a:lnTo>
                    <a:pt x="2332" y="1696"/>
                  </a:lnTo>
                  <a:lnTo>
                    <a:pt x="2352" y="1699"/>
                  </a:lnTo>
                  <a:lnTo>
                    <a:pt x="2374" y="1701"/>
                  </a:lnTo>
                  <a:lnTo>
                    <a:pt x="2397" y="1701"/>
                  </a:lnTo>
                  <a:lnTo>
                    <a:pt x="2419" y="1701"/>
                  </a:lnTo>
                  <a:lnTo>
                    <a:pt x="2440" y="1699"/>
                  </a:lnTo>
                  <a:lnTo>
                    <a:pt x="2461" y="1696"/>
                  </a:lnTo>
                  <a:lnTo>
                    <a:pt x="2480" y="1691"/>
                  </a:lnTo>
                  <a:lnTo>
                    <a:pt x="2499" y="1684"/>
                  </a:lnTo>
                  <a:lnTo>
                    <a:pt x="2517" y="1677"/>
                  </a:lnTo>
                  <a:lnTo>
                    <a:pt x="2535" y="1667"/>
                  </a:lnTo>
                  <a:lnTo>
                    <a:pt x="2552" y="1657"/>
                  </a:lnTo>
                  <a:lnTo>
                    <a:pt x="2567" y="1646"/>
                  </a:lnTo>
                  <a:lnTo>
                    <a:pt x="2582" y="1633"/>
                  </a:lnTo>
                  <a:lnTo>
                    <a:pt x="2597" y="1619"/>
                  </a:lnTo>
                  <a:lnTo>
                    <a:pt x="2610" y="1604"/>
                  </a:lnTo>
                  <a:lnTo>
                    <a:pt x="2622" y="1588"/>
                  </a:lnTo>
                  <a:lnTo>
                    <a:pt x="2633" y="1571"/>
                  </a:lnTo>
                  <a:lnTo>
                    <a:pt x="2643" y="1554"/>
                  </a:lnTo>
                  <a:lnTo>
                    <a:pt x="2653" y="1535"/>
                  </a:lnTo>
                  <a:close/>
                  <a:moveTo>
                    <a:pt x="2478" y="1558"/>
                  </a:moveTo>
                  <a:lnTo>
                    <a:pt x="2478" y="1558"/>
                  </a:lnTo>
                  <a:lnTo>
                    <a:pt x="2468" y="1566"/>
                  </a:lnTo>
                  <a:lnTo>
                    <a:pt x="2458" y="1572"/>
                  </a:lnTo>
                  <a:lnTo>
                    <a:pt x="2446" y="1578"/>
                  </a:lnTo>
                  <a:lnTo>
                    <a:pt x="2434" y="1582"/>
                  </a:lnTo>
                  <a:lnTo>
                    <a:pt x="2421" y="1585"/>
                  </a:lnTo>
                  <a:lnTo>
                    <a:pt x="2407" y="1587"/>
                  </a:lnTo>
                  <a:lnTo>
                    <a:pt x="2394" y="1588"/>
                  </a:lnTo>
                  <a:lnTo>
                    <a:pt x="2380" y="1589"/>
                  </a:lnTo>
                  <a:lnTo>
                    <a:pt x="2364" y="1588"/>
                  </a:lnTo>
                  <a:lnTo>
                    <a:pt x="2350" y="1587"/>
                  </a:lnTo>
                  <a:lnTo>
                    <a:pt x="2336" y="1585"/>
                  </a:lnTo>
                  <a:lnTo>
                    <a:pt x="2323" y="1582"/>
                  </a:lnTo>
                  <a:lnTo>
                    <a:pt x="2311" y="1578"/>
                  </a:lnTo>
                  <a:lnTo>
                    <a:pt x="2300" y="1572"/>
                  </a:lnTo>
                  <a:lnTo>
                    <a:pt x="2289" y="1567"/>
                  </a:lnTo>
                  <a:lnTo>
                    <a:pt x="2279" y="1559"/>
                  </a:lnTo>
                  <a:lnTo>
                    <a:pt x="2270" y="1552"/>
                  </a:lnTo>
                  <a:lnTo>
                    <a:pt x="2261" y="1543"/>
                  </a:lnTo>
                  <a:lnTo>
                    <a:pt x="2253" y="1535"/>
                  </a:lnTo>
                  <a:lnTo>
                    <a:pt x="2245" y="1525"/>
                  </a:lnTo>
                  <a:lnTo>
                    <a:pt x="2239" y="1515"/>
                  </a:lnTo>
                  <a:lnTo>
                    <a:pt x="2232" y="1504"/>
                  </a:lnTo>
                  <a:lnTo>
                    <a:pt x="2227" y="1491"/>
                  </a:lnTo>
                  <a:lnTo>
                    <a:pt x="2222" y="1479"/>
                  </a:lnTo>
                  <a:lnTo>
                    <a:pt x="2218" y="1467"/>
                  </a:lnTo>
                  <a:lnTo>
                    <a:pt x="2214" y="1453"/>
                  </a:lnTo>
                  <a:lnTo>
                    <a:pt x="2211" y="1439"/>
                  </a:lnTo>
                  <a:lnTo>
                    <a:pt x="2209" y="1424"/>
                  </a:lnTo>
                  <a:lnTo>
                    <a:pt x="2207" y="1409"/>
                  </a:lnTo>
                  <a:lnTo>
                    <a:pt x="2206" y="1393"/>
                  </a:lnTo>
                  <a:lnTo>
                    <a:pt x="2205" y="1377"/>
                  </a:lnTo>
                  <a:lnTo>
                    <a:pt x="2205" y="1361"/>
                  </a:lnTo>
                  <a:lnTo>
                    <a:pt x="2205" y="1345"/>
                  </a:lnTo>
                  <a:lnTo>
                    <a:pt x="2206" y="1329"/>
                  </a:lnTo>
                  <a:lnTo>
                    <a:pt x="2207" y="1313"/>
                  </a:lnTo>
                  <a:lnTo>
                    <a:pt x="2209" y="1298"/>
                  </a:lnTo>
                  <a:lnTo>
                    <a:pt x="2211" y="1283"/>
                  </a:lnTo>
                  <a:lnTo>
                    <a:pt x="2214" y="1269"/>
                  </a:lnTo>
                  <a:lnTo>
                    <a:pt x="2219" y="1255"/>
                  </a:lnTo>
                  <a:lnTo>
                    <a:pt x="2223" y="1242"/>
                  </a:lnTo>
                  <a:lnTo>
                    <a:pt x="2227" y="1230"/>
                  </a:lnTo>
                  <a:lnTo>
                    <a:pt x="2232" y="1218"/>
                  </a:lnTo>
                  <a:lnTo>
                    <a:pt x="2239" y="1207"/>
                  </a:lnTo>
                  <a:lnTo>
                    <a:pt x="2245" y="1196"/>
                  </a:lnTo>
                  <a:lnTo>
                    <a:pt x="2253" y="1187"/>
                  </a:lnTo>
                  <a:lnTo>
                    <a:pt x="2261" y="1178"/>
                  </a:lnTo>
                  <a:lnTo>
                    <a:pt x="2270" y="1170"/>
                  </a:lnTo>
                  <a:lnTo>
                    <a:pt x="2278" y="1162"/>
                  </a:lnTo>
                  <a:lnTo>
                    <a:pt x="2288" y="1156"/>
                  </a:lnTo>
                  <a:lnTo>
                    <a:pt x="2299" y="1150"/>
                  </a:lnTo>
                  <a:lnTo>
                    <a:pt x="2310" y="1145"/>
                  </a:lnTo>
                  <a:lnTo>
                    <a:pt x="2322" y="1141"/>
                  </a:lnTo>
                  <a:lnTo>
                    <a:pt x="2334" y="1138"/>
                  </a:lnTo>
                  <a:lnTo>
                    <a:pt x="2347" y="1136"/>
                  </a:lnTo>
                  <a:lnTo>
                    <a:pt x="2360" y="1135"/>
                  </a:lnTo>
                  <a:lnTo>
                    <a:pt x="2375" y="1134"/>
                  </a:lnTo>
                  <a:lnTo>
                    <a:pt x="2390" y="1135"/>
                  </a:lnTo>
                  <a:lnTo>
                    <a:pt x="2404" y="1136"/>
                  </a:lnTo>
                  <a:lnTo>
                    <a:pt x="2418" y="1138"/>
                  </a:lnTo>
                  <a:lnTo>
                    <a:pt x="2432" y="1142"/>
                  </a:lnTo>
                  <a:lnTo>
                    <a:pt x="2444" y="1146"/>
                  </a:lnTo>
                  <a:lnTo>
                    <a:pt x="2455" y="1151"/>
                  </a:lnTo>
                  <a:lnTo>
                    <a:pt x="2467" y="1157"/>
                  </a:lnTo>
                  <a:lnTo>
                    <a:pt x="2477" y="1164"/>
                  </a:lnTo>
                  <a:lnTo>
                    <a:pt x="2486" y="1172"/>
                  </a:lnTo>
                  <a:lnTo>
                    <a:pt x="2496" y="1180"/>
                  </a:lnTo>
                  <a:lnTo>
                    <a:pt x="2504" y="1190"/>
                  </a:lnTo>
                  <a:lnTo>
                    <a:pt x="2512" y="1200"/>
                  </a:lnTo>
                  <a:lnTo>
                    <a:pt x="2519" y="1210"/>
                  </a:lnTo>
                  <a:lnTo>
                    <a:pt x="2526" y="1222"/>
                  </a:lnTo>
                  <a:lnTo>
                    <a:pt x="2531" y="1234"/>
                  </a:lnTo>
                  <a:lnTo>
                    <a:pt x="2536" y="1247"/>
                  </a:lnTo>
                  <a:lnTo>
                    <a:pt x="2541" y="1259"/>
                  </a:lnTo>
                  <a:lnTo>
                    <a:pt x="2545" y="1272"/>
                  </a:lnTo>
                  <a:lnTo>
                    <a:pt x="2548" y="1286"/>
                  </a:lnTo>
                  <a:lnTo>
                    <a:pt x="2551" y="1300"/>
                  </a:lnTo>
                  <a:lnTo>
                    <a:pt x="2554" y="1315"/>
                  </a:lnTo>
                  <a:lnTo>
                    <a:pt x="2555" y="1330"/>
                  </a:lnTo>
                  <a:lnTo>
                    <a:pt x="2556" y="1345"/>
                  </a:lnTo>
                  <a:lnTo>
                    <a:pt x="2556" y="1361"/>
                  </a:lnTo>
                  <a:lnTo>
                    <a:pt x="2556" y="1377"/>
                  </a:lnTo>
                  <a:lnTo>
                    <a:pt x="2555" y="1392"/>
                  </a:lnTo>
                  <a:lnTo>
                    <a:pt x="2554" y="1407"/>
                  </a:lnTo>
                  <a:lnTo>
                    <a:pt x="2551" y="1422"/>
                  </a:lnTo>
                  <a:lnTo>
                    <a:pt x="2548" y="1436"/>
                  </a:lnTo>
                  <a:lnTo>
                    <a:pt x="2545" y="1449"/>
                  </a:lnTo>
                  <a:lnTo>
                    <a:pt x="2541" y="1463"/>
                  </a:lnTo>
                  <a:lnTo>
                    <a:pt x="2536" y="1476"/>
                  </a:lnTo>
                  <a:lnTo>
                    <a:pt x="2531" y="1489"/>
                  </a:lnTo>
                  <a:lnTo>
                    <a:pt x="2526" y="1501"/>
                  </a:lnTo>
                  <a:lnTo>
                    <a:pt x="2519" y="1512"/>
                  </a:lnTo>
                  <a:lnTo>
                    <a:pt x="2512" y="1523"/>
                  </a:lnTo>
                  <a:lnTo>
                    <a:pt x="2504" y="1533"/>
                  </a:lnTo>
                  <a:lnTo>
                    <a:pt x="2496" y="1542"/>
                  </a:lnTo>
                  <a:lnTo>
                    <a:pt x="2487" y="1551"/>
                  </a:lnTo>
                  <a:lnTo>
                    <a:pt x="2478" y="1558"/>
                  </a:lnTo>
                  <a:close/>
                  <a:moveTo>
                    <a:pt x="2932" y="1157"/>
                  </a:moveTo>
                  <a:lnTo>
                    <a:pt x="3227" y="1157"/>
                  </a:lnTo>
                  <a:lnTo>
                    <a:pt x="3227" y="1684"/>
                  </a:lnTo>
                  <a:lnTo>
                    <a:pt x="3350" y="1684"/>
                  </a:lnTo>
                  <a:lnTo>
                    <a:pt x="3350" y="1039"/>
                  </a:lnTo>
                  <a:lnTo>
                    <a:pt x="2807" y="1039"/>
                  </a:lnTo>
                  <a:lnTo>
                    <a:pt x="2807" y="1684"/>
                  </a:lnTo>
                  <a:lnTo>
                    <a:pt x="2932" y="1684"/>
                  </a:lnTo>
                  <a:lnTo>
                    <a:pt x="2932" y="1157"/>
                  </a:lnTo>
                  <a:close/>
                  <a:moveTo>
                    <a:pt x="3954" y="1064"/>
                  </a:moveTo>
                  <a:lnTo>
                    <a:pt x="3936" y="1055"/>
                  </a:lnTo>
                  <a:lnTo>
                    <a:pt x="3917" y="1046"/>
                  </a:lnTo>
                  <a:lnTo>
                    <a:pt x="3896" y="1039"/>
                  </a:lnTo>
                  <a:lnTo>
                    <a:pt x="3876" y="1032"/>
                  </a:lnTo>
                  <a:lnTo>
                    <a:pt x="3855" y="1027"/>
                  </a:lnTo>
                  <a:lnTo>
                    <a:pt x="3832" y="1024"/>
                  </a:lnTo>
                  <a:lnTo>
                    <a:pt x="3810" y="1021"/>
                  </a:lnTo>
                  <a:lnTo>
                    <a:pt x="3785" y="1021"/>
                  </a:lnTo>
                  <a:lnTo>
                    <a:pt x="3762" y="1021"/>
                  </a:lnTo>
                  <a:lnTo>
                    <a:pt x="3740" y="1024"/>
                  </a:lnTo>
                  <a:lnTo>
                    <a:pt x="3718" y="1027"/>
                  </a:lnTo>
                  <a:lnTo>
                    <a:pt x="3697" y="1032"/>
                  </a:lnTo>
                  <a:lnTo>
                    <a:pt x="3677" y="1037"/>
                  </a:lnTo>
                  <a:lnTo>
                    <a:pt x="3656" y="1045"/>
                  </a:lnTo>
                  <a:lnTo>
                    <a:pt x="3638" y="1053"/>
                  </a:lnTo>
                  <a:lnTo>
                    <a:pt x="3620" y="1064"/>
                  </a:lnTo>
                  <a:lnTo>
                    <a:pt x="3603" y="1075"/>
                  </a:lnTo>
                  <a:lnTo>
                    <a:pt x="3586" y="1088"/>
                  </a:lnTo>
                  <a:lnTo>
                    <a:pt x="3571" y="1100"/>
                  </a:lnTo>
                  <a:lnTo>
                    <a:pt x="3557" y="1115"/>
                  </a:lnTo>
                  <a:lnTo>
                    <a:pt x="3543" y="1130"/>
                  </a:lnTo>
                  <a:lnTo>
                    <a:pt x="3532" y="1147"/>
                  </a:lnTo>
                  <a:lnTo>
                    <a:pt x="3520" y="1164"/>
                  </a:lnTo>
                  <a:lnTo>
                    <a:pt x="3509" y="1184"/>
                  </a:lnTo>
                  <a:lnTo>
                    <a:pt x="3501" y="1203"/>
                  </a:lnTo>
                  <a:lnTo>
                    <a:pt x="3492" y="1223"/>
                  </a:lnTo>
                  <a:lnTo>
                    <a:pt x="3486" y="1245"/>
                  </a:lnTo>
                  <a:lnTo>
                    <a:pt x="3480" y="1266"/>
                  </a:lnTo>
                  <a:lnTo>
                    <a:pt x="3476" y="1288"/>
                  </a:lnTo>
                  <a:lnTo>
                    <a:pt x="3473" y="1312"/>
                  </a:lnTo>
                  <a:lnTo>
                    <a:pt x="3471" y="1336"/>
                  </a:lnTo>
                  <a:lnTo>
                    <a:pt x="3470" y="1361"/>
                  </a:lnTo>
                  <a:lnTo>
                    <a:pt x="3471" y="1385"/>
                  </a:lnTo>
                  <a:lnTo>
                    <a:pt x="3473" y="1410"/>
                  </a:lnTo>
                  <a:lnTo>
                    <a:pt x="3475" y="1432"/>
                  </a:lnTo>
                  <a:lnTo>
                    <a:pt x="3479" y="1455"/>
                  </a:lnTo>
                  <a:lnTo>
                    <a:pt x="3485" y="1477"/>
                  </a:lnTo>
                  <a:lnTo>
                    <a:pt x="3492" y="1499"/>
                  </a:lnTo>
                  <a:lnTo>
                    <a:pt x="3500" y="1519"/>
                  </a:lnTo>
                  <a:lnTo>
                    <a:pt x="3508" y="1538"/>
                  </a:lnTo>
                  <a:lnTo>
                    <a:pt x="3519" y="1556"/>
                  </a:lnTo>
                  <a:lnTo>
                    <a:pt x="3529" y="1574"/>
                  </a:lnTo>
                  <a:lnTo>
                    <a:pt x="3542" y="1590"/>
                  </a:lnTo>
                  <a:lnTo>
                    <a:pt x="3555" y="1606"/>
                  </a:lnTo>
                  <a:lnTo>
                    <a:pt x="3569" y="1621"/>
                  </a:lnTo>
                  <a:lnTo>
                    <a:pt x="3585" y="1634"/>
                  </a:lnTo>
                  <a:lnTo>
                    <a:pt x="3601" y="1647"/>
                  </a:lnTo>
                  <a:lnTo>
                    <a:pt x="3618" y="1659"/>
                  </a:lnTo>
                  <a:lnTo>
                    <a:pt x="3636" y="1668"/>
                  </a:lnTo>
                  <a:lnTo>
                    <a:pt x="3655" y="1677"/>
                  </a:lnTo>
                  <a:lnTo>
                    <a:pt x="3675" y="1684"/>
                  </a:lnTo>
                  <a:lnTo>
                    <a:pt x="3696" y="1691"/>
                  </a:lnTo>
                  <a:lnTo>
                    <a:pt x="3717" y="1696"/>
                  </a:lnTo>
                  <a:lnTo>
                    <a:pt x="3740" y="1699"/>
                  </a:lnTo>
                  <a:lnTo>
                    <a:pt x="3762" y="1701"/>
                  </a:lnTo>
                  <a:lnTo>
                    <a:pt x="3785" y="1701"/>
                  </a:lnTo>
                  <a:lnTo>
                    <a:pt x="3810" y="1701"/>
                  </a:lnTo>
                  <a:lnTo>
                    <a:pt x="3832" y="1699"/>
                  </a:lnTo>
                  <a:lnTo>
                    <a:pt x="3855" y="1696"/>
                  </a:lnTo>
                  <a:lnTo>
                    <a:pt x="3876" y="1691"/>
                  </a:lnTo>
                  <a:lnTo>
                    <a:pt x="3896" y="1685"/>
                  </a:lnTo>
                  <a:lnTo>
                    <a:pt x="3916" y="1678"/>
                  </a:lnTo>
                  <a:lnTo>
                    <a:pt x="3935" y="1668"/>
                  </a:lnTo>
                  <a:lnTo>
                    <a:pt x="3953" y="1659"/>
                  </a:lnTo>
                  <a:lnTo>
                    <a:pt x="3970" y="1647"/>
                  </a:lnTo>
                  <a:lnTo>
                    <a:pt x="3986" y="1635"/>
                  </a:lnTo>
                  <a:lnTo>
                    <a:pt x="4002" y="1621"/>
                  </a:lnTo>
                  <a:lnTo>
                    <a:pt x="4016" y="1607"/>
                  </a:lnTo>
                  <a:lnTo>
                    <a:pt x="4030" y="1591"/>
                  </a:lnTo>
                  <a:lnTo>
                    <a:pt x="4041" y="1574"/>
                  </a:lnTo>
                  <a:lnTo>
                    <a:pt x="4053" y="1557"/>
                  </a:lnTo>
                  <a:lnTo>
                    <a:pt x="4063" y="1538"/>
                  </a:lnTo>
                  <a:lnTo>
                    <a:pt x="4072" y="1519"/>
                  </a:lnTo>
                  <a:lnTo>
                    <a:pt x="4080" y="1499"/>
                  </a:lnTo>
                  <a:lnTo>
                    <a:pt x="4087" y="1477"/>
                  </a:lnTo>
                  <a:lnTo>
                    <a:pt x="4093" y="1456"/>
                  </a:lnTo>
                  <a:lnTo>
                    <a:pt x="4097" y="1433"/>
                  </a:lnTo>
                  <a:lnTo>
                    <a:pt x="4100" y="1410"/>
                  </a:lnTo>
                  <a:lnTo>
                    <a:pt x="4101" y="1385"/>
                  </a:lnTo>
                  <a:lnTo>
                    <a:pt x="4102" y="1361"/>
                  </a:lnTo>
                  <a:lnTo>
                    <a:pt x="4101" y="1336"/>
                  </a:lnTo>
                  <a:lnTo>
                    <a:pt x="4100" y="1313"/>
                  </a:lnTo>
                  <a:lnTo>
                    <a:pt x="4097" y="1289"/>
                  </a:lnTo>
                  <a:lnTo>
                    <a:pt x="4093" y="1267"/>
                  </a:lnTo>
                  <a:lnTo>
                    <a:pt x="4087" y="1246"/>
                  </a:lnTo>
                  <a:lnTo>
                    <a:pt x="4080" y="1224"/>
                  </a:lnTo>
                  <a:lnTo>
                    <a:pt x="4072" y="1204"/>
                  </a:lnTo>
                  <a:lnTo>
                    <a:pt x="4064" y="1185"/>
                  </a:lnTo>
                  <a:lnTo>
                    <a:pt x="4053" y="1167"/>
                  </a:lnTo>
                  <a:lnTo>
                    <a:pt x="4041" y="1148"/>
                  </a:lnTo>
                  <a:lnTo>
                    <a:pt x="4030" y="1132"/>
                  </a:lnTo>
                  <a:lnTo>
                    <a:pt x="4017" y="1116"/>
                  </a:lnTo>
                  <a:lnTo>
                    <a:pt x="4002" y="1102"/>
                  </a:lnTo>
                  <a:lnTo>
                    <a:pt x="3987" y="1089"/>
                  </a:lnTo>
                  <a:lnTo>
                    <a:pt x="3971" y="1076"/>
                  </a:lnTo>
                  <a:lnTo>
                    <a:pt x="3954" y="1064"/>
                  </a:lnTo>
                  <a:close/>
                  <a:moveTo>
                    <a:pt x="3924" y="1522"/>
                  </a:moveTo>
                  <a:lnTo>
                    <a:pt x="3924" y="1522"/>
                  </a:lnTo>
                  <a:lnTo>
                    <a:pt x="3918" y="1530"/>
                  </a:lnTo>
                  <a:lnTo>
                    <a:pt x="3912" y="1536"/>
                  </a:lnTo>
                  <a:lnTo>
                    <a:pt x="3905" y="1543"/>
                  </a:lnTo>
                  <a:lnTo>
                    <a:pt x="3899" y="1549"/>
                  </a:lnTo>
                  <a:lnTo>
                    <a:pt x="3891" y="1555"/>
                  </a:lnTo>
                  <a:lnTo>
                    <a:pt x="3884" y="1559"/>
                  </a:lnTo>
                  <a:lnTo>
                    <a:pt x="3875" y="1565"/>
                  </a:lnTo>
                  <a:lnTo>
                    <a:pt x="3867" y="1569"/>
                  </a:lnTo>
                  <a:lnTo>
                    <a:pt x="3858" y="1572"/>
                  </a:lnTo>
                  <a:lnTo>
                    <a:pt x="3848" y="1575"/>
                  </a:lnTo>
                  <a:lnTo>
                    <a:pt x="3839" y="1579"/>
                  </a:lnTo>
                  <a:lnTo>
                    <a:pt x="3829" y="1581"/>
                  </a:lnTo>
                  <a:lnTo>
                    <a:pt x="3808" y="1583"/>
                  </a:lnTo>
                  <a:lnTo>
                    <a:pt x="3785" y="1584"/>
                  </a:lnTo>
                  <a:lnTo>
                    <a:pt x="3764" y="1583"/>
                  </a:lnTo>
                  <a:lnTo>
                    <a:pt x="3744" y="1581"/>
                  </a:lnTo>
                  <a:lnTo>
                    <a:pt x="3734" y="1579"/>
                  </a:lnTo>
                  <a:lnTo>
                    <a:pt x="3725" y="1575"/>
                  </a:lnTo>
                  <a:lnTo>
                    <a:pt x="3715" y="1572"/>
                  </a:lnTo>
                  <a:lnTo>
                    <a:pt x="3707" y="1569"/>
                  </a:lnTo>
                  <a:lnTo>
                    <a:pt x="3698" y="1565"/>
                  </a:lnTo>
                  <a:lnTo>
                    <a:pt x="3691" y="1560"/>
                  </a:lnTo>
                  <a:lnTo>
                    <a:pt x="3682" y="1555"/>
                  </a:lnTo>
                  <a:lnTo>
                    <a:pt x="3676" y="1550"/>
                  </a:lnTo>
                  <a:lnTo>
                    <a:pt x="3668" y="1544"/>
                  </a:lnTo>
                  <a:lnTo>
                    <a:pt x="3662" y="1538"/>
                  </a:lnTo>
                  <a:lnTo>
                    <a:pt x="3655" y="1531"/>
                  </a:lnTo>
                  <a:lnTo>
                    <a:pt x="3649" y="1523"/>
                  </a:lnTo>
                  <a:lnTo>
                    <a:pt x="3638" y="1507"/>
                  </a:lnTo>
                  <a:lnTo>
                    <a:pt x="3629" y="1490"/>
                  </a:lnTo>
                  <a:lnTo>
                    <a:pt x="3621" y="1472"/>
                  </a:lnTo>
                  <a:lnTo>
                    <a:pt x="3614" y="1453"/>
                  </a:lnTo>
                  <a:lnTo>
                    <a:pt x="3609" y="1431"/>
                  </a:lnTo>
                  <a:lnTo>
                    <a:pt x="3605" y="1409"/>
                  </a:lnTo>
                  <a:lnTo>
                    <a:pt x="3603" y="1385"/>
                  </a:lnTo>
                  <a:lnTo>
                    <a:pt x="3603" y="1361"/>
                  </a:lnTo>
                  <a:lnTo>
                    <a:pt x="3603" y="1345"/>
                  </a:lnTo>
                  <a:lnTo>
                    <a:pt x="3604" y="1329"/>
                  </a:lnTo>
                  <a:lnTo>
                    <a:pt x="3605" y="1314"/>
                  </a:lnTo>
                  <a:lnTo>
                    <a:pt x="3607" y="1299"/>
                  </a:lnTo>
                  <a:lnTo>
                    <a:pt x="3611" y="1285"/>
                  </a:lnTo>
                  <a:lnTo>
                    <a:pt x="3614" y="1271"/>
                  </a:lnTo>
                  <a:lnTo>
                    <a:pt x="3618" y="1258"/>
                  </a:lnTo>
                  <a:lnTo>
                    <a:pt x="3622" y="1246"/>
                  </a:lnTo>
                  <a:lnTo>
                    <a:pt x="3628" y="1233"/>
                  </a:lnTo>
                  <a:lnTo>
                    <a:pt x="3634" y="1222"/>
                  </a:lnTo>
                  <a:lnTo>
                    <a:pt x="3640" y="1211"/>
                  </a:lnTo>
                  <a:lnTo>
                    <a:pt x="3647" y="1201"/>
                  </a:lnTo>
                  <a:lnTo>
                    <a:pt x="3655" y="1191"/>
                  </a:lnTo>
                  <a:lnTo>
                    <a:pt x="3664" y="1183"/>
                  </a:lnTo>
                  <a:lnTo>
                    <a:pt x="3672" y="1174"/>
                  </a:lnTo>
                  <a:lnTo>
                    <a:pt x="3683" y="1167"/>
                  </a:lnTo>
                  <a:lnTo>
                    <a:pt x="3693" y="1160"/>
                  </a:lnTo>
                  <a:lnTo>
                    <a:pt x="3704" y="1155"/>
                  </a:lnTo>
                  <a:lnTo>
                    <a:pt x="3716" y="1150"/>
                  </a:lnTo>
                  <a:lnTo>
                    <a:pt x="3729" y="1145"/>
                  </a:lnTo>
                  <a:lnTo>
                    <a:pt x="3742" y="1143"/>
                  </a:lnTo>
                  <a:lnTo>
                    <a:pt x="3756" y="1140"/>
                  </a:lnTo>
                  <a:lnTo>
                    <a:pt x="3771" y="1139"/>
                  </a:lnTo>
                  <a:lnTo>
                    <a:pt x="3785" y="1139"/>
                  </a:lnTo>
                  <a:lnTo>
                    <a:pt x="3808" y="1140"/>
                  </a:lnTo>
                  <a:lnTo>
                    <a:pt x="3829" y="1142"/>
                  </a:lnTo>
                  <a:lnTo>
                    <a:pt x="3839" y="1144"/>
                  </a:lnTo>
                  <a:lnTo>
                    <a:pt x="3848" y="1147"/>
                  </a:lnTo>
                  <a:lnTo>
                    <a:pt x="3857" y="1151"/>
                  </a:lnTo>
                  <a:lnTo>
                    <a:pt x="3865" y="1154"/>
                  </a:lnTo>
                  <a:lnTo>
                    <a:pt x="3874" y="1158"/>
                  </a:lnTo>
                  <a:lnTo>
                    <a:pt x="3883" y="1162"/>
                  </a:lnTo>
                  <a:lnTo>
                    <a:pt x="3890" y="1168"/>
                  </a:lnTo>
                  <a:lnTo>
                    <a:pt x="3897" y="1173"/>
                  </a:lnTo>
                  <a:lnTo>
                    <a:pt x="3905" y="1178"/>
                  </a:lnTo>
                  <a:lnTo>
                    <a:pt x="3911" y="1185"/>
                  </a:lnTo>
                  <a:lnTo>
                    <a:pt x="3918" y="1192"/>
                  </a:lnTo>
                  <a:lnTo>
                    <a:pt x="3923" y="1200"/>
                  </a:lnTo>
                  <a:lnTo>
                    <a:pt x="3934" y="1215"/>
                  </a:lnTo>
                  <a:lnTo>
                    <a:pt x="3943" y="1232"/>
                  </a:lnTo>
                  <a:lnTo>
                    <a:pt x="3952" y="1251"/>
                  </a:lnTo>
                  <a:lnTo>
                    <a:pt x="3958" y="1270"/>
                  </a:lnTo>
                  <a:lnTo>
                    <a:pt x="3964" y="1290"/>
                  </a:lnTo>
                  <a:lnTo>
                    <a:pt x="3967" y="1313"/>
                  </a:lnTo>
                  <a:lnTo>
                    <a:pt x="3969" y="1336"/>
                  </a:lnTo>
                  <a:lnTo>
                    <a:pt x="3970" y="1361"/>
                  </a:lnTo>
                  <a:lnTo>
                    <a:pt x="3969" y="1385"/>
                  </a:lnTo>
                  <a:lnTo>
                    <a:pt x="3967" y="1408"/>
                  </a:lnTo>
                  <a:lnTo>
                    <a:pt x="3964" y="1429"/>
                  </a:lnTo>
                  <a:lnTo>
                    <a:pt x="3958" y="1451"/>
                  </a:lnTo>
                  <a:lnTo>
                    <a:pt x="3952" y="1470"/>
                  </a:lnTo>
                  <a:lnTo>
                    <a:pt x="3944" y="1488"/>
                  </a:lnTo>
                  <a:lnTo>
                    <a:pt x="3935" y="1506"/>
                  </a:lnTo>
                  <a:lnTo>
                    <a:pt x="3924" y="1522"/>
                  </a:lnTo>
                  <a:close/>
                  <a:moveTo>
                    <a:pt x="4678" y="1065"/>
                  </a:moveTo>
                  <a:lnTo>
                    <a:pt x="4661" y="1056"/>
                  </a:lnTo>
                  <a:lnTo>
                    <a:pt x="4644" y="1046"/>
                  </a:lnTo>
                  <a:lnTo>
                    <a:pt x="4625" y="1039"/>
                  </a:lnTo>
                  <a:lnTo>
                    <a:pt x="4606" y="1032"/>
                  </a:lnTo>
                  <a:lnTo>
                    <a:pt x="4586" y="1027"/>
                  </a:lnTo>
                  <a:lnTo>
                    <a:pt x="4565" y="1024"/>
                  </a:lnTo>
                  <a:lnTo>
                    <a:pt x="4544" y="1021"/>
                  </a:lnTo>
                  <a:lnTo>
                    <a:pt x="4521" y="1021"/>
                  </a:lnTo>
                  <a:lnTo>
                    <a:pt x="4499" y="1021"/>
                  </a:lnTo>
                  <a:lnTo>
                    <a:pt x="4478" y="1024"/>
                  </a:lnTo>
                  <a:lnTo>
                    <a:pt x="4457" y="1027"/>
                  </a:lnTo>
                  <a:lnTo>
                    <a:pt x="4437" y="1032"/>
                  </a:lnTo>
                  <a:lnTo>
                    <a:pt x="4419" y="1039"/>
                  </a:lnTo>
                  <a:lnTo>
                    <a:pt x="4401" y="1046"/>
                  </a:lnTo>
                  <a:lnTo>
                    <a:pt x="4384" y="1056"/>
                  </a:lnTo>
                  <a:lnTo>
                    <a:pt x="4368" y="1065"/>
                  </a:lnTo>
                  <a:lnTo>
                    <a:pt x="4358" y="1073"/>
                  </a:lnTo>
                  <a:lnTo>
                    <a:pt x="4350" y="1080"/>
                  </a:lnTo>
                  <a:lnTo>
                    <a:pt x="4340" y="1089"/>
                  </a:lnTo>
                  <a:lnTo>
                    <a:pt x="4332" y="1097"/>
                  </a:lnTo>
                  <a:lnTo>
                    <a:pt x="4332" y="1039"/>
                  </a:lnTo>
                  <a:lnTo>
                    <a:pt x="4221" y="1039"/>
                  </a:lnTo>
                  <a:lnTo>
                    <a:pt x="4221" y="1970"/>
                  </a:lnTo>
                  <a:lnTo>
                    <a:pt x="4346" y="1970"/>
                  </a:lnTo>
                  <a:lnTo>
                    <a:pt x="4346" y="1637"/>
                  </a:lnTo>
                  <a:lnTo>
                    <a:pt x="4357" y="1648"/>
                  </a:lnTo>
                  <a:lnTo>
                    <a:pt x="4369" y="1657"/>
                  </a:lnTo>
                  <a:lnTo>
                    <a:pt x="4385" y="1667"/>
                  </a:lnTo>
                  <a:lnTo>
                    <a:pt x="4402" y="1677"/>
                  </a:lnTo>
                  <a:lnTo>
                    <a:pt x="4420" y="1684"/>
                  </a:lnTo>
                  <a:lnTo>
                    <a:pt x="4439" y="1691"/>
                  </a:lnTo>
                  <a:lnTo>
                    <a:pt x="4458" y="1696"/>
                  </a:lnTo>
                  <a:lnTo>
                    <a:pt x="4480" y="1699"/>
                  </a:lnTo>
                  <a:lnTo>
                    <a:pt x="4501" y="1701"/>
                  </a:lnTo>
                  <a:lnTo>
                    <a:pt x="4525" y="1701"/>
                  </a:lnTo>
                  <a:lnTo>
                    <a:pt x="4546" y="1701"/>
                  </a:lnTo>
                  <a:lnTo>
                    <a:pt x="4567" y="1699"/>
                  </a:lnTo>
                  <a:lnTo>
                    <a:pt x="4589" y="1696"/>
                  </a:lnTo>
                  <a:lnTo>
                    <a:pt x="4608" y="1691"/>
                  </a:lnTo>
                  <a:lnTo>
                    <a:pt x="4627" y="1684"/>
                  </a:lnTo>
                  <a:lnTo>
                    <a:pt x="4645" y="1677"/>
                  </a:lnTo>
                  <a:lnTo>
                    <a:pt x="4663" y="1667"/>
                  </a:lnTo>
                  <a:lnTo>
                    <a:pt x="4679" y="1657"/>
                  </a:lnTo>
                  <a:lnTo>
                    <a:pt x="4695" y="1646"/>
                  </a:lnTo>
                  <a:lnTo>
                    <a:pt x="4710" y="1633"/>
                  </a:lnTo>
                  <a:lnTo>
                    <a:pt x="4724" y="1619"/>
                  </a:lnTo>
                  <a:lnTo>
                    <a:pt x="4738" y="1604"/>
                  </a:lnTo>
                  <a:lnTo>
                    <a:pt x="4750" y="1588"/>
                  </a:lnTo>
                  <a:lnTo>
                    <a:pt x="4760" y="1571"/>
                  </a:lnTo>
                  <a:lnTo>
                    <a:pt x="4771" y="1554"/>
                  </a:lnTo>
                  <a:lnTo>
                    <a:pt x="4781" y="1535"/>
                  </a:lnTo>
                  <a:lnTo>
                    <a:pt x="4789" y="1516"/>
                  </a:lnTo>
                  <a:lnTo>
                    <a:pt x="4796" y="1495"/>
                  </a:lnTo>
                  <a:lnTo>
                    <a:pt x="4802" y="1474"/>
                  </a:lnTo>
                  <a:lnTo>
                    <a:pt x="4807" y="1453"/>
                  </a:lnTo>
                  <a:lnTo>
                    <a:pt x="4810" y="1430"/>
                  </a:lnTo>
                  <a:lnTo>
                    <a:pt x="4814" y="1408"/>
                  </a:lnTo>
                  <a:lnTo>
                    <a:pt x="4816" y="1384"/>
                  </a:lnTo>
                  <a:lnTo>
                    <a:pt x="4816" y="1361"/>
                  </a:lnTo>
                  <a:lnTo>
                    <a:pt x="4816" y="1336"/>
                  </a:lnTo>
                  <a:lnTo>
                    <a:pt x="4814" y="1314"/>
                  </a:lnTo>
                  <a:lnTo>
                    <a:pt x="4810" y="1290"/>
                  </a:lnTo>
                  <a:lnTo>
                    <a:pt x="4807" y="1269"/>
                  </a:lnTo>
                  <a:lnTo>
                    <a:pt x="4802" y="1248"/>
                  </a:lnTo>
                  <a:lnTo>
                    <a:pt x="4796" y="1226"/>
                  </a:lnTo>
                  <a:lnTo>
                    <a:pt x="4788" y="1206"/>
                  </a:lnTo>
                  <a:lnTo>
                    <a:pt x="4781" y="1187"/>
                  </a:lnTo>
                  <a:lnTo>
                    <a:pt x="4771" y="1168"/>
                  </a:lnTo>
                  <a:lnTo>
                    <a:pt x="4760" y="1151"/>
                  </a:lnTo>
                  <a:lnTo>
                    <a:pt x="4749" y="1134"/>
                  </a:lnTo>
                  <a:lnTo>
                    <a:pt x="4737" y="1119"/>
                  </a:lnTo>
                  <a:lnTo>
                    <a:pt x="4724" y="1104"/>
                  </a:lnTo>
                  <a:lnTo>
                    <a:pt x="4709" y="1090"/>
                  </a:lnTo>
                  <a:lnTo>
                    <a:pt x="4694" y="1077"/>
                  </a:lnTo>
                  <a:lnTo>
                    <a:pt x="4678" y="1065"/>
                  </a:lnTo>
                  <a:close/>
                  <a:moveTo>
                    <a:pt x="4664" y="1476"/>
                  </a:moveTo>
                  <a:lnTo>
                    <a:pt x="4664" y="1476"/>
                  </a:lnTo>
                  <a:lnTo>
                    <a:pt x="4659" y="1489"/>
                  </a:lnTo>
                  <a:lnTo>
                    <a:pt x="4653" y="1501"/>
                  </a:lnTo>
                  <a:lnTo>
                    <a:pt x="4646" y="1512"/>
                  </a:lnTo>
                  <a:lnTo>
                    <a:pt x="4640" y="1523"/>
                  </a:lnTo>
                  <a:lnTo>
                    <a:pt x="4632" y="1533"/>
                  </a:lnTo>
                  <a:lnTo>
                    <a:pt x="4624" y="1542"/>
                  </a:lnTo>
                  <a:lnTo>
                    <a:pt x="4615" y="1551"/>
                  </a:lnTo>
                  <a:lnTo>
                    <a:pt x="4606" y="1558"/>
                  </a:lnTo>
                  <a:lnTo>
                    <a:pt x="4595" y="1566"/>
                  </a:lnTo>
                  <a:lnTo>
                    <a:pt x="4584" y="1572"/>
                  </a:lnTo>
                  <a:lnTo>
                    <a:pt x="4574" y="1578"/>
                  </a:lnTo>
                  <a:lnTo>
                    <a:pt x="4561" y="1582"/>
                  </a:lnTo>
                  <a:lnTo>
                    <a:pt x="4549" y="1585"/>
                  </a:lnTo>
                  <a:lnTo>
                    <a:pt x="4535" y="1587"/>
                  </a:lnTo>
                  <a:lnTo>
                    <a:pt x="4521" y="1588"/>
                  </a:lnTo>
                  <a:lnTo>
                    <a:pt x="4506" y="1589"/>
                  </a:lnTo>
                  <a:lnTo>
                    <a:pt x="4492" y="1588"/>
                  </a:lnTo>
                  <a:lnTo>
                    <a:pt x="4478" y="1587"/>
                  </a:lnTo>
                  <a:lnTo>
                    <a:pt x="4464" y="1585"/>
                  </a:lnTo>
                  <a:lnTo>
                    <a:pt x="4451" y="1582"/>
                  </a:lnTo>
                  <a:lnTo>
                    <a:pt x="4439" y="1578"/>
                  </a:lnTo>
                  <a:lnTo>
                    <a:pt x="4428" y="1572"/>
                  </a:lnTo>
                  <a:lnTo>
                    <a:pt x="4417" y="1567"/>
                  </a:lnTo>
                  <a:lnTo>
                    <a:pt x="4406" y="1559"/>
                  </a:lnTo>
                  <a:lnTo>
                    <a:pt x="4397" y="1552"/>
                  </a:lnTo>
                  <a:lnTo>
                    <a:pt x="4388" y="1543"/>
                  </a:lnTo>
                  <a:lnTo>
                    <a:pt x="4381" y="1535"/>
                  </a:lnTo>
                  <a:lnTo>
                    <a:pt x="4373" y="1525"/>
                  </a:lnTo>
                  <a:lnTo>
                    <a:pt x="4366" y="1515"/>
                  </a:lnTo>
                  <a:lnTo>
                    <a:pt x="4360" y="1504"/>
                  </a:lnTo>
                  <a:lnTo>
                    <a:pt x="4355" y="1491"/>
                  </a:lnTo>
                  <a:lnTo>
                    <a:pt x="4350" y="1479"/>
                  </a:lnTo>
                  <a:lnTo>
                    <a:pt x="4345" y="1467"/>
                  </a:lnTo>
                  <a:lnTo>
                    <a:pt x="4342" y="1453"/>
                  </a:lnTo>
                  <a:lnTo>
                    <a:pt x="4339" y="1439"/>
                  </a:lnTo>
                  <a:lnTo>
                    <a:pt x="4336" y="1424"/>
                  </a:lnTo>
                  <a:lnTo>
                    <a:pt x="4335" y="1409"/>
                  </a:lnTo>
                  <a:lnTo>
                    <a:pt x="4333" y="1393"/>
                  </a:lnTo>
                  <a:lnTo>
                    <a:pt x="4333" y="1377"/>
                  </a:lnTo>
                  <a:lnTo>
                    <a:pt x="4332" y="1361"/>
                  </a:lnTo>
                  <a:lnTo>
                    <a:pt x="4333" y="1345"/>
                  </a:lnTo>
                  <a:lnTo>
                    <a:pt x="4333" y="1329"/>
                  </a:lnTo>
                  <a:lnTo>
                    <a:pt x="4335" y="1313"/>
                  </a:lnTo>
                  <a:lnTo>
                    <a:pt x="4337" y="1298"/>
                  </a:lnTo>
                  <a:lnTo>
                    <a:pt x="4339" y="1283"/>
                  </a:lnTo>
                  <a:lnTo>
                    <a:pt x="4342" y="1269"/>
                  </a:lnTo>
                  <a:lnTo>
                    <a:pt x="4345" y="1255"/>
                  </a:lnTo>
                  <a:lnTo>
                    <a:pt x="4350" y="1242"/>
                  </a:lnTo>
                  <a:lnTo>
                    <a:pt x="4355" y="1230"/>
                  </a:lnTo>
                  <a:lnTo>
                    <a:pt x="4360" y="1218"/>
                  </a:lnTo>
                  <a:lnTo>
                    <a:pt x="4367" y="1207"/>
                  </a:lnTo>
                  <a:lnTo>
                    <a:pt x="4373" y="1196"/>
                  </a:lnTo>
                  <a:lnTo>
                    <a:pt x="4381" y="1187"/>
                  </a:lnTo>
                  <a:lnTo>
                    <a:pt x="4388" y="1178"/>
                  </a:lnTo>
                  <a:lnTo>
                    <a:pt x="4397" y="1170"/>
                  </a:lnTo>
                  <a:lnTo>
                    <a:pt x="4406" y="1162"/>
                  </a:lnTo>
                  <a:lnTo>
                    <a:pt x="4416" y="1156"/>
                  </a:lnTo>
                  <a:lnTo>
                    <a:pt x="4426" y="1150"/>
                  </a:lnTo>
                  <a:lnTo>
                    <a:pt x="4437" y="1145"/>
                  </a:lnTo>
                  <a:lnTo>
                    <a:pt x="4449" y="1141"/>
                  </a:lnTo>
                  <a:lnTo>
                    <a:pt x="4462" y="1138"/>
                  </a:lnTo>
                  <a:lnTo>
                    <a:pt x="4474" y="1136"/>
                  </a:lnTo>
                  <a:lnTo>
                    <a:pt x="4488" y="1135"/>
                  </a:lnTo>
                  <a:lnTo>
                    <a:pt x="4502" y="1134"/>
                  </a:lnTo>
                  <a:lnTo>
                    <a:pt x="4518" y="1135"/>
                  </a:lnTo>
                  <a:lnTo>
                    <a:pt x="4532" y="1136"/>
                  </a:lnTo>
                  <a:lnTo>
                    <a:pt x="4546" y="1138"/>
                  </a:lnTo>
                  <a:lnTo>
                    <a:pt x="4559" y="1142"/>
                  </a:lnTo>
                  <a:lnTo>
                    <a:pt x="4572" y="1146"/>
                  </a:lnTo>
                  <a:lnTo>
                    <a:pt x="4583" y="1151"/>
                  </a:lnTo>
                  <a:lnTo>
                    <a:pt x="4594" y="1157"/>
                  </a:lnTo>
                  <a:lnTo>
                    <a:pt x="4605" y="1164"/>
                  </a:lnTo>
                  <a:lnTo>
                    <a:pt x="4614" y="1172"/>
                  </a:lnTo>
                  <a:lnTo>
                    <a:pt x="4624" y="1180"/>
                  </a:lnTo>
                  <a:lnTo>
                    <a:pt x="4631" y="1190"/>
                  </a:lnTo>
                  <a:lnTo>
                    <a:pt x="4640" y="1200"/>
                  </a:lnTo>
                  <a:lnTo>
                    <a:pt x="4646" y="1210"/>
                  </a:lnTo>
                  <a:lnTo>
                    <a:pt x="4653" y="1222"/>
                  </a:lnTo>
                  <a:lnTo>
                    <a:pt x="4659" y="1234"/>
                  </a:lnTo>
                  <a:lnTo>
                    <a:pt x="4664" y="1247"/>
                  </a:lnTo>
                  <a:lnTo>
                    <a:pt x="4669" y="1259"/>
                  </a:lnTo>
                  <a:lnTo>
                    <a:pt x="4673" y="1272"/>
                  </a:lnTo>
                  <a:lnTo>
                    <a:pt x="4676" y="1286"/>
                  </a:lnTo>
                  <a:lnTo>
                    <a:pt x="4678" y="1300"/>
                  </a:lnTo>
                  <a:lnTo>
                    <a:pt x="4680" y="1315"/>
                  </a:lnTo>
                  <a:lnTo>
                    <a:pt x="4682" y="1330"/>
                  </a:lnTo>
                  <a:lnTo>
                    <a:pt x="4684" y="1345"/>
                  </a:lnTo>
                  <a:lnTo>
                    <a:pt x="4684" y="1361"/>
                  </a:lnTo>
                  <a:lnTo>
                    <a:pt x="4684" y="1377"/>
                  </a:lnTo>
                  <a:lnTo>
                    <a:pt x="4682" y="1392"/>
                  </a:lnTo>
                  <a:lnTo>
                    <a:pt x="4680" y="1407"/>
                  </a:lnTo>
                  <a:lnTo>
                    <a:pt x="4678" y="1422"/>
                  </a:lnTo>
                  <a:lnTo>
                    <a:pt x="4676" y="1436"/>
                  </a:lnTo>
                  <a:lnTo>
                    <a:pt x="4673" y="1449"/>
                  </a:lnTo>
                  <a:lnTo>
                    <a:pt x="4669" y="1463"/>
                  </a:lnTo>
                  <a:lnTo>
                    <a:pt x="4664" y="1476"/>
                  </a:lnTo>
                  <a:close/>
                  <a:moveTo>
                    <a:pt x="5438" y="1144"/>
                  </a:moveTo>
                  <a:lnTo>
                    <a:pt x="5429" y="1128"/>
                  </a:lnTo>
                  <a:lnTo>
                    <a:pt x="5421" y="1114"/>
                  </a:lnTo>
                  <a:lnTo>
                    <a:pt x="5410" y="1102"/>
                  </a:lnTo>
                  <a:lnTo>
                    <a:pt x="5399" y="1089"/>
                  </a:lnTo>
                  <a:lnTo>
                    <a:pt x="5386" y="1078"/>
                  </a:lnTo>
                  <a:lnTo>
                    <a:pt x="5374" y="1067"/>
                  </a:lnTo>
                  <a:lnTo>
                    <a:pt x="5359" y="1059"/>
                  </a:lnTo>
                  <a:lnTo>
                    <a:pt x="5343" y="1050"/>
                  </a:lnTo>
                  <a:lnTo>
                    <a:pt x="5327" y="1044"/>
                  </a:lnTo>
                  <a:lnTo>
                    <a:pt x="5310" y="1037"/>
                  </a:lnTo>
                  <a:lnTo>
                    <a:pt x="5292" y="1032"/>
                  </a:lnTo>
                  <a:lnTo>
                    <a:pt x="5273" y="1029"/>
                  </a:lnTo>
                  <a:lnTo>
                    <a:pt x="5254" y="1026"/>
                  </a:lnTo>
                  <a:lnTo>
                    <a:pt x="5234" y="1023"/>
                  </a:lnTo>
                  <a:lnTo>
                    <a:pt x="5214" y="1021"/>
                  </a:lnTo>
                  <a:lnTo>
                    <a:pt x="5192" y="1021"/>
                  </a:lnTo>
                  <a:lnTo>
                    <a:pt x="5166" y="1021"/>
                  </a:lnTo>
                  <a:lnTo>
                    <a:pt x="5139" y="1024"/>
                  </a:lnTo>
                  <a:lnTo>
                    <a:pt x="5116" y="1028"/>
                  </a:lnTo>
                  <a:lnTo>
                    <a:pt x="5092" y="1033"/>
                  </a:lnTo>
                  <a:lnTo>
                    <a:pt x="5071" y="1041"/>
                  </a:lnTo>
                  <a:lnTo>
                    <a:pt x="5050" y="1048"/>
                  </a:lnTo>
                  <a:lnTo>
                    <a:pt x="5031" y="1059"/>
                  </a:lnTo>
                  <a:lnTo>
                    <a:pt x="5014" y="1071"/>
                  </a:lnTo>
                  <a:lnTo>
                    <a:pt x="4997" y="1082"/>
                  </a:lnTo>
                  <a:lnTo>
                    <a:pt x="4983" y="1096"/>
                  </a:lnTo>
                  <a:lnTo>
                    <a:pt x="4969" y="1111"/>
                  </a:lnTo>
                  <a:lnTo>
                    <a:pt x="4958" y="1127"/>
                  </a:lnTo>
                  <a:lnTo>
                    <a:pt x="4947" y="1144"/>
                  </a:lnTo>
                  <a:lnTo>
                    <a:pt x="4937" y="1162"/>
                  </a:lnTo>
                  <a:lnTo>
                    <a:pt x="4929" y="1182"/>
                  </a:lnTo>
                  <a:lnTo>
                    <a:pt x="4922" y="1202"/>
                  </a:lnTo>
                  <a:lnTo>
                    <a:pt x="5039" y="1238"/>
                  </a:lnTo>
                  <a:lnTo>
                    <a:pt x="5044" y="1224"/>
                  </a:lnTo>
                  <a:lnTo>
                    <a:pt x="5049" y="1213"/>
                  </a:lnTo>
                  <a:lnTo>
                    <a:pt x="5055" y="1202"/>
                  </a:lnTo>
                  <a:lnTo>
                    <a:pt x="5062" y="1191"/>
                  </a:lnTo>
                  <a:lnTo>
                    <a:pt x="5070" y="1182"/>
                  </a:lnTo>
                  <a:lnTo>
                    <a:pt x="5078" y="1174"/>
                  </a:lnTo>
                  <a:lnTo>
                    <a:pt x="5088" y="1167"/>
                  </a:lnTo>
                  <a:lnTo>
                    <a:pt x="5098" y="1160"/>
                  </a:lnTo>
                  <a:lnTo>
                    <a:pt x="5109" y="1155"/>
                  </a:lnTo>
                  <a:lnTo>
                    <a:pt x="5120" y="1150"/>
                  </a:lnTo>
                  <a:lnTo>
                    <a:pt x="5132" y="1145"/>
                  </a:lnTo>
                  <a:lnTo>
                    <a:pt x="5142" y="1142"/>
                  </a:lnTo>
                  <a:lnTo>
                    <a:pt x="5154" y="1140"/>
                  </a:lnTo>
                  <a:lnTo>
                    <a:pt x="5167" y="1138"/>
                  </a:lnTo>
                  <a:lnTo>
                    <a:pt x="5178" y="1137"/>
                  </a:lnTo>
                  <a:lnTo>
                    <a:pt x="5191" y="1137"/>
                  </a:lnTo>
                  <a:lnTo>
                    <a:pt x="5210" y="1137"/>
                  </a:lnTo>
                  <a:lnTo>
                    <a:pt x="5229" y="1139"/>
                  </a:lnTo>
                  <a:lnTo>
                    <a:pt x="5245" y="1141"/>
                  </a:lnTo>
                  <a:lnTo>
                    <a:pt x="5260" y="1145"/>
                  </a:lnTo>
                  <a:lnTo>
                    <a:pt x="5273" y="1151"/>
                  </a:lnTo>
                  <a:lnTo>
                    <a:pt x="5285" y="1157"/>
                  </a:lnTo>
                  <a:lnTo>
                    <a:pt x="5296" y="1164"/>
                  </a:lnTo>
                  <a:lnTo>
                    <a:pt x="5305" y="1173"/>
                  </a:lnTo>
                  <a:lnTo>
                    <a:pt x="5312" y="1182"/>
                  </a:lnTo>
                  <a:lnTo>
                    <a:pt x="5318" y="1191"/>
                  </a:lnTo>
                  <a:lnTo>
                    <a:pt x="5322" y="1202"/>
                  </a:lnTo>
                  <a:lnTo>
                    <a:pt x="5327" y="1213"/>
                  </a:lnTo>
                  <a:lnTo>
                    <a:pt x="5331" y="1225"/>
                  </a:lnTo>
                  <a:lnTo>
                    <a:pt x="5333" y="1238"/>
                  </a:lnTo>
                  <a:lnTo>
                    <a:pt x="5335" y="1252"/>
                  </a:lnTo>
                  <a:lnTo>
                    <a:pt x="5336" y="1267"/>
                  </a:lnTo>
                  <a:lnTo>
                    <a:pt x="5318" y="1269"/>
                  </a:lnTo>
                  <a:lnTo>
                    <a:pt x="5300" y="1272"/>
                  </a:lnTo>
                  <a:lnTo>
                    <a:pt x="5282" y="1274"/>
                  </a:lnTo>
                  <a:lnTo>
                    <a:pt x="5263" y="1278"/>
                  </a:lnTo>
                  <a:lnTo>
                    <a:pt x="5234" y="1282"/>
                  </a:lnTo>
                  <a:lnTo>
                    <a:pt x="5205" y="1286"/>
                  </a:lnTo>
                  <a:lnTo>
                    <a:pt x="5176" y="1290"/>
                  </a:lnTo>
                  <a:lnTo>
                    <a:pt x="5149" y="1295"/>
                  </a:lnTo>
                  <a:lnTo>
                    <a:pt x="5123" y="1300"/>
                  </a:lnTo>
                  <a:lnTo>
                    <a:pt x="5097" y="1305"/>
                  </a:lnTo>
                  <a:lnTo>
                    <a:pt x="5074" y="1311"/>
                  </a:lnTo>
                  <a:lnTo>
                    <a:pt x="5052" y="1317"/>
                  </a:lnTo>
                  <a:lnTo>
                    <a:pt x="5028" y="1326"/>
                  </a:lnTo>
                  <a:lnTo>
                    <a:pt x="5006" y="1336"/>
                  </a:lnTo>
                  <a:lnTo>
                    <a:pt x="4986" y="1347"/>
                  </a:lnTo>
                  <a:lnTo>
                    <a:pt x="4968" y="1360"/>
                  </a:lnTo>
                  <a:lnTo>
                    <a:pt x="4960" y="1366"/>
                  </a:lnTo>
                  <a:lnTo>
                    <a:pt x="4952" y="1373"/>
                  </a:lnTo>
                  <a:lnTo>
                    <a:pt x="4945" y="1380"/>
                  </a:lnTo>
                  <a:lnTo>
                    <a:pt x="4938" y="1389"/>
                  </a:lnTo>
                  <a:lnTo>
                    <a:pt x="4932" y="1396"/>
                  </a:lnTo>
                  <a:lnTo>
                    <a:pt x="4927" y="1405"/>
                  </a:lnTo>
                  <a:lnTo>
                    <a:pt x="4921" y="1413"/>
                  </a:lnTo>
                  <a:lnTo>
                    <a:pt x="4917" y="1423"/>
                  </a:lnTo>
                  <a:lnTo>
                    <a:pt x="4913" y="1431"/>
                  </a:lnTo>
                  <a:lnTo>
                    <a:pt x="4910" y="1442"/>
                  </a:lnTo>
                  <a:lnTo>
                    <a:pt x="4906" y="1452"/>
                  </a:lnTo>
                  <a:lnTo>
                    <a:pt x="4904" y="1462"/>
                  </a:lnTo>
                  <a:lnTo>
                    <a:pt x="4902" y="1473"/>
                  </a:lnTo>
                  <a:lnTo>
                    <a:pt x="4900" y="1485"/>
                  </a:lnTo>
                  <a:lnTo>
                    <a:pt x="4900" y="1496"/>
                  </a:lnTo>
                  <a:lnTo>
                    <a:pt x="4899" y="1508"/>
                  </a:lnTo>
                  <a:lnTo>
                    <a:pt x="4900" y="1521"/>
                  </a:lnTo>
                  <a:lnTo>
                    <a:pt x="4901" y="1534"/>
                  </a:lnTo>
                  <a:lnTo>
                    <a:pt x="4903" y="1547"/>
                  </a:lnTo>
                  <a:lnTo>
                    <a:pt x="4905" y="1558"/>
                  </a:lnTo>
                  <a:lnTo>
                    <a:pt x="4909" y="1571"/>
                  </a:lnTo>
                  <a:lnTo>
                    <a:pt x="4913" y="1582"/>
                  </a:lnTo>
                  <a:lnTo>
                    <a:pt x="4918" y="1594"/>
                  </a:lnTo>
                  <a:lnTo>
                    <a:pt x="4925" y="1605"/>
                  </a:lnTo>
                  <a:lnTo>
                    <a:pt x="4931" y="1616"/>
                  </a:lnTo>
                  <a:lnTo>
                    <a:pt x="4938" y="1626"/>
                  </a:lnTo>
                  <a:lnTo>
                    <a:pt x="4946" y="1635"/>
                  </a:lnTo>
                  <a:lnTo>
                    <a:pt x="4954" y="1645"/>
                  </a:lnTo>
                  <a:lnTo>
                    <a:pt x="4964" y="1653"/>
                  </a:lnTo>
                  <a:lnTo>
                    <a:pt x="4975" y="1661"/>
                  </a:lnTo>
                  <a:lnTo>
                    <a:pt x="4985" y="1668"/>
                  </a:lnTo>
                  <a:lnTo>
                    <a:pt x="4997" y="1676"/>
                  </a:lnTo>
                  <a:lnTo>
                    <a:pt x="5010" y="1681"/>
                  </a:lnTo>
                  <a:lnTo>
                    <a:pt x="5023" y="1686"/>
                  </a:lnTo>
                  <a:lnTo>
                    <a:pt x="5037" y="1692"/>
                  </a:lnTo>
                  <a:lnTo>
                    <a:pt x="5052" y="1695"/>
                  </a:lnTo>
                  <a:lnTo>
                    <a:pt x="5066" y="1698"/>
                  </a:lnTo>
                  <a:lnTo>
                    <a:pt x="5082" y="1700"/>
                  </a:lnTo>
                  <a:lnTo>
                    <a:pt x="5100" y="1701"/>
                  </a:lnTo>
                  <a:lnTo>
                    <a:pt x="5118" y="1701"/>
                  </a:lnTo>
                  <a:lnTo>
                    <a:pt x="5139" y="1701"/>
                  </a:lnTo>
                  <a:lnTo>
                    <a:pt x="5160" y="1699"/>
                  </a:lnTo>
                  <a:lnTo>
                    <a:pt x="5181" y="1697"/>
                  </a:lnTo>
                  <a:lnTo>
                    <a:pt x="5200" y="1693"/>
                  </a:lnTo>
                  <a:lnTo>
                    <a:pt x="5219" y="1687"/>
                  </a:lnTo>
                  <a:lnTo>
                    <a:pt x="5236" y="1681"/>
                  </a:lnTo>
                  <a:lnTo>
                    <a:pt x="5253" y="1675"/>
                  </a:lnTo>
                  <a:lnTo>
                    <a:pt x="5269" y="1666"/>
                  </a:lnTo>
                  <a:lnTo>
                    <a:pt x="5281" y="1659"/>
                  </a:lnTo>
                  <a:lnTo>
                    <a:pt x="5292" y="1651"/>
                  </a:lnTo>
                  <a:lnTo>
                    <a:pt x="5302" y="1643"/>
                  </a:lnTo>
                  <a:lnTo>
                    <a:pt x="5313" y="1633"/>
                  </a:lnTo>
                  <a:lnTo>
                    <a:pt x="5322" y="1623"/>
                  </a:lnTo>
                  <a:lnTo>
                    <a:pt x="5332" y="1613"/>
                  </a:lnTo>
                  <a:lnTo>
                    <a:pt x="5341" y="1602"/>
                  </a:lnTo>
                  <a:lnTo>
                    <a:pt x="5349" y="1590"/>
                  </a:lnTo>
                  <a:lnTo>
                    <a:pt x="5349" y="1684"/>
                  </a:lnTo>
                  <a:lnTo>
                    <a:pt x="5460" y="1684"/>
                  </a:lnTo>
                  <a:lnTo>
                    <a:pt x="5460" y="1287"/>
                  </a:lnTo>
                  <a:lnTo>
                    <a:pt x="5460" y="1267"/>
                  </a:lnTo>
                  <a:lnTo>
                    <a:pt x="5459" y="1248"/>
                  </a:lnTo>
                  <a:lnTo>
                    <a:pt x="5458" y="1229"/>
                  </a:lnTo>
                  <a:lnTo>
                    <a:pt x="5456" y="1211"/>
                  </a:lnTo>
                  <a:lnTo>
                    <a:pt x="5454" y="1193"/>
                  </a:lnTo>
                  <a:lnTo>
                    <a:pt x="5449" y="1176"/>
                  </a:lnTo>
                  <a:lnTo>
                    <a:pt x="5444" y="1160"/>
                  </a:lnTo>
                  <a:lnTo>
                    <a:pt x="5438" y="1144"/>
                  </a:lnTo>
                  <a:close/>
                  <a:moveTo>
                    <a:pt x="5322" y="1472"/>
                  </a:moveTo>
                  <a:lnTo>
                    <a:pt x="5322" y="1472"/>
                  </a:lnTo>
                  <a:lnTo>
                    <a:pt x="5318" y="1488"/>
                  </a:lnTo>
                  <a:lnTo>
                    <a:pt x="5312" y="1503"/>
                  </a:lnTo>
                  <a:lnTo>
                    <a:pt x="5303" y="1518"/>
                  </a:lnTo>
                  <a:lnTo>
                    <a:pt x="5293" y="1533"/>
                  </a:lnTo>
                  <a:lnTo>
                    <a:pt x="5286" y="1540"/>
                  </a:lnTo>
                  <a:lnTo>
                    <a:pt x="5280" y="1547"/>
                  </a:lnTo>
                  <a:lnTo>
                    <a:pt x="5272" y="1553"/>
                  </a:lnTo>
                  <a:lnTo>
                    <a:pt x="5265" y="1559"/>
                  </a:lnTo>
                  <a:lnTo>
                    <a:pt x="5249" y="1571"/>
                  </a:lnTo>
                  <a:lnTo>
                    <a:pt x="5231" y="1581"/>
                  </a:lnTo>
                  <a:lnTo>
                    <a:pt x="5221" y="1585"/>
                  </a:lnTo>
                  <a:lnTo>
                    <a:pt x="5210" y="1589"/>
                  </a:lnTo>
                  <a:lnTo>
                    <a:pt x="5200" y="1592"/>
                  </a:lnTo>
                  <a:lnTo>
                    <a:pt x="5189" y="1595"/>
                  </a:lnTo>
                  <a:lnTo>
                    <a:pt x="5177" y="1597"/>
                  </a:lnTo>
                  <a:lnTo>
                    <a:pt x="5165" y="1599"/>
                  </a:lnTo>
                  <a:lnTo>
                    <a:pt x="5153" y="1600"/>
                  </a:lnTo>
                  <a:lnTo>
                    <a:pt x="5139" y="1600"/>
                  </a:lnTo>
                  <a:lnTo>
                    <a:pt x="5120" y="1599"/>
                  </a:lnTo>
                  <a:lnTo>
                    <a:pt x="5103" y="1597"/>
                  </a:lnTo>
                  <a:lnTo>
                    <a:pt x="5088" y="1592"/>
                  </a:lnTo>
                  <a:lnTo>
                    <a:pt x="5074" y="1587"/>
                  </a:lnTo>
                  <a:lnTo>
                    <a:pt x="5062" y="1581"/>
                  </a:lnTo>
                  <a:lnTo>
                    <a:pt x="5052" y="1572"/>
                  </a:lnTo>
                  <a:lnTo>
                    <a:pt x="5043" y="1564"/>
                  </a:lnTo>
                  <a:lnTo>
                    <a:pt x="5036" y="1553"/>
                  </a:lnTo>
                  <a:lnTo>
                    <a:pt x="5030" y="1542"/>
                  </a:lnTo>
                  <a:lnTo>
                    <a:pt x="5026" y="1532"/>
                  </a:lnTo>
                  <a:lnTo>
                    <a:pt x="5024" y="1520"/>
                  </a:lnTo>
                  <a:lnTo>
                    <a:pt x="5023" y="1507"/>
                  </a:lnTo>
                  <a:lnTo>
                    <a:pt x="5024" y="1494"/>
                  </a:lnTo>
                  <a:lnTo>
                    <a:pt x="5026" y="1484"/>
                  </a:lnTo>
                  <a:lnTo>
                    <a:pt x="5029" y="1473"/>
                  </a:lnTo>
                  <a:lnTo>
                    <a:pt x="5034" y="1463"/>
                  </a:lnTo>
                  <a:lnTo>
                    <a:pt x="5041" y="1455"/>
                  </a:lnTo>
                  <a:lnTo>
                    <a:pt x="5048" y="1447"/>
                  </a:lnTo>
                  <a:lnTo>
                    <a:pt x="5057" y="1440"/>
                  </a:lnTo>
                  <a:lnTo>
                    <a:pt x="5066" y="1433"/>
                  </a:lnTo>
                  <a:lnTo>
                    <a:pt x="5077" y="1427"/>
                  </a:lnTo>
                  <a:lnTo>
                    <a:pt x="5088" y="1422"/>
                  </a:lnTo>
                  <a:lnTo>
                    <a:pt x="5100" y="1416"/>
                  </a:lnTo>
                  <a:lnTo>
                    <a:pt x="5112" y="1412"/>
                  </a:lnTo>
                  <a:lnTo>
                    <a:pt x="5127" y="1407"/>
                  </a:lnTo>
                  <a:lnTo>
                    <a:pt x="5144" y="1402"/>
                  </a:lnTo>
                  <a:lnTo>
                    <a:pt x="5162" y="1399"/>
                  </a:lnTo>
                  <a:lnTo>
                    <a:pt x="5182" y="1395"/>
                  </a:lnTo>
                  <a:lnTo>
                    <a:pt x="5202" y="1392"/>
                  </a:lnTo>
                  <a:lnTo>
                    <a:pt x="5223" y="1389"/>
                  </a:lnTo>
                  <a:lnTo>
                    <a:pt x="5246" y="1384"/>
                  </a:lnTo>
                  <a:lnTo>
                    <a:pt x="5269" y="1381"/>
                  </a:lnTo>
                  <a:lnTo>
                    <a:pt x="5285" y="1379"/>
                  </a:lnTo>
                  <a:lnTo>
                    <a:pt x="5301" y="1377"/>
                  </a:lnTo>
                  <a:lnTo>
                    <a:pt x="5318" y="1374"/>
                  </a:lnTo>
                  <a:lnTo>
                    <a:pt x="5335" y="1372"/>
                  </a:lnTo>
                  <a:lnTo>
                    <a:pt x="5335" y="1379"/>
                  </a:lnTo>
                  <a:lnTo>
                    <a:pt x="5335" y="1389"/>
                  </a:lnTo>
                  <a:lnTo>
                    <a:pt x="5334" y="1397"/>
                  </a:lnTo>
                  <a:lnTo>
                    <a:pt x="5334" y="1408"/>
                  </a:lnTo>
                  <a:lnTo>
                    <a:pt x="5333" y="1425"/>
                  </a:lnTo>
                  <a:lnTo>
                    <a:pt x="5331" y="1442"/>
                  </a:lnTo>
                  <a:lnTo>
                    <a:pt x="5327" y="1457"/>
                  </a:lnTo>
                  <a:lnTo>
                    <a:pt x="5322" y="1472"/>
                  </a:lnTo>
                  <a:close/>
                  <a:moveTo>
                    <a:pt x="6146" y="1039"/>
                  </a:moveTo>
                  <a:lnTo>
                    <a:pt x="6021" y="1039"/>
                  </a:lnTo>
                  <a:lnTo>
                    <a:pt x="6021" y="1566"/>
                  </a:lnTo>
                  <a:lnTo>
                    <a:pt x="5728" y="1566"/>
                  </a:lnTo>
                  <a:lnTo>
                    <a:pt x="5728" y="1039"/>
                  </a:lnTo>
                  <a:lnTo>
                    <a:pt x="5603" y="1039"/>
                  </a:lnTo>
                  <a:lnTo>
                    <a:pt x="5603" y="1684"/>
                  </a:lnTo>
                  <a:lnTo>
                    <a:pt x="6147" y="1684"/>
                  </a:lnTo>
                  <a:lnTo>
                    <a:pt x="6147" y="1811"/>
                  </a:lnTo>
                  <a:lnTo>
                    <a:pt x="6272" y="1811"/>
                  </a:lnTo>
                  <a:lnTo>
                    <a:pt x="6272" y="1571"/>
                  </a:lnTo>
                  <a:lnTo>
                    <a:pt x="6146" y="1571"/>
                  </a:lnTo>
                  <a:lnTo>
                    <a:pt x="6146" y="1039"/>
                  </a:lnTo>
                  <a:close/>
                  <a:moveTo>
                    <a:pt x="6475" y="1478"/>
                  </a:moveTo>
                  <a:lnTo>
                    <a:pt x="6475" y="1039"/>
                  </a:lnTo>
                  <a:lnTo>
                    <a:pt x="6355" y="1039"/>
                  </a:lnTo>
                  <a:lnTo>
                    <a:pt x="6355" y="1684"/>
                  </a:lnTo>
                  <a:lnTo>
                    <a:pt x="6456" y="1684"/>
                  </a:lnTo>
                  <a:lnTo>
                    <a:pt x="6778" y="1235"/>
                  </a:lnTo>
                  <a:lnTo>
                    <a:pt x="6778" y="1684"/>
                  </a:lnTo>
                  <a:lnTo>
                    <a:pt x="6899" y="1684"/>
                  </a:lnTo>
                  <a:lnTo>
                    <a:pt x="6899" y="1039"/>
                  </a:lnTo>
                  <a:lnTo>
                    <a:pt x="6798" y="1039"/>
                  </a:lnTo>
                  <a:lnTo>
                    <a:pt x="6475" y="1478"/>
                  </a:lnTo>
                  <a:close/>
                  <a:moveTo>
                    <a:pt x="7315" y="1039"/>
                  </a:moveTo>
                  <a:lnTo>
                    <a:pt x="7303" y="1039"/>
                  </a:lnTo>
                  <a:lnTo>
                    <a:pt x="7290" y="1040"/>
                  </a:lnTo>
                  <a:lnTo>
                    <a:pt x="7277" y="1040"/>
                  </a:lnTo>
                  <a:lnTo>
                    <a:pt x="7261" y="1040"/>
                  </a:lnTo>
                  <a:lnTo>
                    <a:pt x="7245" y="1041"/>
                  </a:lnTo>
                  <a:lnTo>
                    <a:pt x="7230" y="1043"/>
                  </a:lnTo>
                  <a:lnTo>
                    <a:pt x="7214" y="1045"/>
                  </a:lnTo>
                  <a:lnTo>
                    <a:pt x="7199" y="1048"/>
                  </a:lnTo>
                  <a:lnTo>
                    <a:pt x="7182" y="1052"/>
                  </a:lnTo>
                  <a:lnTo>
                    <a:pt x="7165" y="1058"/>
                  </a:lnTo>
                  <a:lnTo>
                    <a:pt x="7149" y="1064"/>
                  </a:lnTo>
                  <a:lnTo>
                    <a:pt x="7135" y="1072"/>
                  </a:lnTo>
                  <a:lnTo>
                    <a:pt x="7120" y="1081"/>
                  </a:lnTo>
                  <a:lnTo>
                    <a:pt x="7107" y="1091"/>
                  </a:lnTo>
                  <a:lnTo>
                    <a:pt x="7094" y="1103"/>
                  </a:lnTo>
                  <a:lnTo>
                    <a:pt x="7082" y="1114"/>
                  </a:lnTo>
                  <a:lnTo>
                    <a:pt x="7072" y="1128"/>
                  </a:lnTo>
                  <a:lnTo>
                    <a:pt x="7062" y="1142"/>
                  </a:lnTo>
                  <a:lnTo>
                    <a:pt x="7055" y="1158"/>
                  </a:lnTo>
                  <a:lnTo>
                    <a:pt x="7048" y="1174"/>
                  </a:lnTo>
                  <a:lnTo>
                    <a:pt x="7043" y="1192"/>
                  </a:lnTo>
                  <a:lnTo>
                    <a:pt x="7040" y="1210"/>
                  </a:lnTo>
                  <a:lnTo>
                    <a:pt x="7038" y="1231"/>
                  </a:lnTo>
                  <a:lnTo>
                    <a:pt x="7037" y="1251"/>
                  </a:lnTo>
                  <a:lnTo>
                    <a:pt x="7038" y="1272"/>
                  </a:lnTo>
                  <a:lnTo>
                    <a:pt x="7040" y="1293"/>
                  </a:lnTo>
                  <a:lnTo>
                    <a:pt x="7043" y="1312"/>
                  </a:lnTo>
                  <a:lnTo>
                    <a:pt x="7048" y="1329"/>
                  </a:lnTo>
                  <a:lnTo>
                    <a:pt x="7056" y="1346"/>
                  </a:lnTo>
                  <a:lnTo>
                    <a:pt x="7064" y="1361"/>
                  </a:lnTo>
                  <a:lnTo>
                    <a:pt x="7074" y="1376"/>
                  </a:lnTo>
                  <a:lnTo>
                    <a:pt x="7085" y="1389"/>
                  </a:lnTo>
                  <a:lnTo>
                    <a:pt x="7094" y="1398"/>
                  </a:lnTo>
                  <a:lnTo>
                    <a:pt x="7104" y="1406"/>
                  </a:lnTo>
                  <a:lnTo>
                    <a:pt x="7114" y="1414"/>
                  </a:lnTo>
                  <a:lnTo>
                    <a:pt x="7125" y="1421"/>
                  </a:lnTo>
                  <a:lnTo>
                    <a:pt x="7136" y="1427"/>
                  </a:lnTo>
                  <a:lnTo>
                    <a:pt x="7147" y="1433"/>
                  </a:lnTo>
                  <a:lnTo>
                    <a:pt x="7159" y="1439"/>
                  </a:lnTo>
                  <a:lnTo>
                    <a:pt x="7172" y="1443"/>
                  </a:lnTo>
                  <a:lnTo>
                    <a:pt x="7018" y="1684"/>
                  </a:lnTo>
                  <a:lnTo>
                    <a:pt x="7152" y="1684"/>
                  </a:lnTo>
                  <a:lnTo>
                    <a:pt x="7294" y="1459"/>
                  </a:lnTo>
                  <a:lnTo>
                    <a:pt x="7306" y="1460"/>
                  </a:lnTo>
                  <a:lnTo>
                    <a:pt x="7318" y="1460"/>
                  </a:lnTo>
                  <a:lnTo>
                    <a:pt x="7446" y="1460"/>
                  </a:lnTo>
                  <a:lnTo>
                    <a:pt x="7446" y="1684"/>
                  </a:lnTo>
                  <a:lnTo>
                    <a:pt x="7571" y="1684"/>
                  </a:lnTo>
                  <a:lnTo>
                    <a:pt x="7571" y="1039"/>
                  </a:lnTo>
                  <a:lnTo>
                    <a:pt x="7315" y="1039"/>
                  </a:lnTo>
                  <a:close/>
                  <a:moveTo>
                    <a:pt x="7446" y="1360"/>
                  </a:moveTo>
                  <a:lnTo>
                    <a:pt x="7446" y="1360"/>
                  </a:lnTo>
                  <a:lnTo>
                    <a:pt x="7307" y="1360"/>
                  </a:lnTo>
                  <a:lnTo>
                    <a:pt x="7294" y="1360"/>
                  </a:lnTo>
                  <a:lnTo>
                    <a:pt x="7278" y="1359"/>
                  </a:lnTo>
                  <a:lnTo>
                    <a:pt x="7269" y="1358"/>
                  </a:lnTo>
                  <a:lnTo>
                    <a:pt x="7261" y="1357"/>
                  </a:lnTo>
                  <a:lnTo>
                    <a:pt x="7252" y="1354"/>
                  </a:lnTo>
                  <a:lnTo>
                    <a:pt x="7243" y="1352"/>
                  </a:lnTo>
                  <a:lnTo>
                    <a:pt x="7235" y="1350"/>
                  </a:lnTo>
                  <a:lnTo>
                    <a:pt x="7227" y="1347"/>
                  </a:lnTo>
                  <a:lnTo>
                    <a:pt x="7220" y="1344"/>
                  </a:lnTo>
                  <a:lnTo>
                    <a:pt x="7214" y="1340"/>
                  </a:lnTo>
                  <a:lnTo>
                    <a:pt x="7206" y="1335"/>
                  </a:lnTo>
                  <a:lnTo>
                    <a:pt x="7200" y="1330"/>
                  </a:lnTo>
                  <a:lnTo>
                    <a:pt x="7193" y="1324"/>
                  </a:lnTo>
                  <a:lnTo>
                    <a:pt x="7188" y="1317"/>
                  </a:lnTo>
                  <a:lnTo>
                    <a:pt x="7183" y="1311"/>
                  </a:lnTo>
                  <a:lnTo>
                    <a:pt x="7177" y="1303"/>
                  </a:lnTo>
                  <a:lnTo>
                    <a:pt x="7173" y="1296"/>
                  </a:lnTo>
                  <a:lnTo>
                    <a:pt x="7170" y="1287"/>
                  </a:lnTo>
                  <a:lnTo>
                    <a:pt x="7168" y="1279"/>
                  </a:lnTo>
                  <a:lnTo>
                    <a:pt x="7166" y="1269"/>
                  </a:lnTo>
                  <a:lnTo>
                    <a:pt x="7165" y="1259"/>
                  </a:lnTo>
                  <a:lnTo>
                    <a:pt x="7165" y="1250"/>
                  </a:lnTo>
                  <a:lnTo>
                    <a:pt x="7165" y="1236"/>
                  </a:lnTo>
                  <a:lnTo>
                    <a:pt x="7167" y="1224"/>
                  </a:lnTo>
                  <a:lnTo>
                    <a:pt x="7171" y="1213"/>
                  </a:lnTo>
                  <a:lnTo>
                    <a:pt x="7175" y="1201"/>
                  </a:lnTo>
                  <a:lnTo>
                    <a:pt x="7181" y="1191"/>
                  </a:lnTo>
                  <a:lnTo>
                    <a:pt x="7187" y="1182"/>
                  </a:lnTo>
                  <a:lnTo>
                    <a:pt x="7194" y="1173"/>
                  </a:lnTo>
                  <a:lnTo>
                    <a:pt x="7203" y="1167"/>
                  </a:lnTo>
                  <a:lnTo>
                    <a:pt x="7211" y="1160"/>
                  </a:lnTo>
                  <a:lnTo>
                    <a:pt x="7220" y="1155"/>
                  </a:lnTo>
                  <a:lnTo>
                    <a:pt x="7230" y="1151"/>
                  </a:lnTo>
                  <a:lnTo>
                    <a:pt x="7238" y="1147"/>
                  </a:lnTo>
                  <a:lnTo>
                    <a:pt x="7248" y="1144"/>
                  </a:lnTo>
                  <a:lnTo>
                    <a:pt x="7256" y="1143"/>
                  </a:lnTo>
                  <a:lnTo>
                    <a:pt x="7266" y="1141"/>
                  </a:lnTo>
                  <a:lnTo>
                    <a:pt x="7275" y="1141"/>
                  </a:lnTo>
                  <a:lnTo>
                    <a:pt x="7285" y="1140"/>
                  </a:lnTo>
                  <a:lnTo>
                    <a:pt x="7293" y="1140"/>
                  </a:lnTo>
                  <a:lnTo>
                    <a:pt x="7301" y="1139"/>
                  </a:lnTo>
                  <a:lnTo>
                    <a:pt x="7307" y="1139"/>
                  </a:lnTo>
                  <a:lnTo>
                    <a:pt x="7446" y="1139"/>
                  </a:lnTo>
                  <a:lnTo>
                    <a:pt x="7446" y="1360"/>
                  </a:lnTo>
                  <a:close/>
                  <a:moveTo>
                    <a:pt x="1070" y="2556"/>
                  </a:moveTo>
                  <a:lnTo>
                    <a:pt x="758" y="1848"/>
                  </a:lnTo>
                  <a:lnTo>
                    <a:pt x="645" y="1825"/>
                  </a:lnTo>
                  <a:lnTo>
                    <a:pt x="645" y="2684"/>
                  </a:lnTo>
                  <a:lnTo>
                    <a:pt x="763" y="2708"/>
                  </a:lnTo>
                  <a:lnTo>
                    <a:pt x="763" y="2120"/>
                  </a:lnTo>
                  <a:lnTo>
                    <a:pt x="1041" y="2763"/>
                  </a:lnTo>
                  <a:lnTo>
                    <a:pt x="1098" y="2775"/>
                  </a:lnTo>
                  <a:lnTo>
                    <a:pt x="1375" y="2241"/>
                  </a:lnTo>
                  <a:lnTo>
                    <a:pt x="1375" y="2830"/>
                  </a:lnTo>
                  <a:lnTo>
                    <a:pt x="1493" y="2853"/>
                  </a:lnTo>
                  <a:lnTo>
                    <a:pt x="1493" y="1994"/>
                  </a:lnTo>
                  <a:lnTo>
                    <a:pt x="1379" y="1970"/>
                  </a:lnTo>
                  <a:lnTo>
                    <a:pt x="1070" y="2556"/>
                  </a:lnTo>
                  <a:close/>
                  <a:moveTo>
                    <a:pt x="1855" y="2207"/>
                  </a:moveTo>
                  <a:lnTo>
                    <a:pt x="1871" y="2201"/>
                  </a:lnTo>
                  <a:lnTo>
                    <a:pt x="1887" y="2196"/>
                  </a:lnTo>
                  <a:lnTo>
                    <a:pt x="1905" y="2192"/>
                  </a:lnTo>
                  <a:lnTo>
                    <a:pt x="1923" y="2190"/>
                  </a:lnTo>
                  <a:lnTo>
                    <a:pt x="1943" y="2189"/>
                  </a:lnTo>
                  <a:lnTo>
                    <a:pt x="1964" y="2190"/>
                  </a:lnTo>
                  <a:lnTo>
                    <a:pt x="1985" y="2192"/>
                  </a:lnTo>
                  <a:lnTo>
                    <a:pt x="2007" y="2197"/>
                  </a:lnTo>
                  <a:lnTo>
                    <a:pt x="2032" y="2202"/>
                  </a:lnTo>
                  <a:lnTo>
                    <a:pt x="2055" y="2209"/>
                  </a:lnTo>
                  <a:lnTo>
                    <a:pt x="2079" y="2218"/>
                  </a:lnTo>
                  <a:lnTo>
                    <a:pt x="2100" y="2228"/>
                  </a:lnTo>
                  <a:lnTo>
                    <a:pt x="2120" y="2239"/>
                  </a:lnTo>
                  <a:lnTo>
                    <a:pt x="2139" y="2251"/>
                  </a:lnTo>
                  <a:lnTo>
                    <a:pt x="2157" y="2265"/>
                  </a:lnTo>
                  <a:lnTo>
                    <a:pt x="2174" y="2281"/>
                  </a:lnTo>
                  <a:lnTo>
                    <a:pt x="2189" y="2297"/>
                  </a:lnTo>
                  <a:lnTo>
                    <a:pt x="2203" y="2315"/>
                  </a:lnTo>
                  <a:lnTo>
                    <a:pt x="2216" y="2333"/>
                  </a:lnTo>
                  <a:lnTo>
                    <a:pt x="2228" y="2352"/>
                  </a:lnTo>
                  <a:lnTo>
                    <a:pt x="2239" y="2373"/>
                  </a:lnTo>
                  <a:lnTo>
                    <a:pt x="2247" y="2394"/>
                  </a:lnTo>
                  <a:lnTo>
                    <a:pt x="2256" y="2416"/>
                  </a:lnTo>
                  <a:lnTo>
                    <a:pt x="2262" y="2440"/>
                  </a:lnTo>
                  <a:lnTo>
                    <a:pt x="2389" y="2431"/>
                  </a:lnTo>
                  <a:lnTo>
                    <a:pt x="2384" y="2414"/>
                  </a:lnTo>
                  <a:lnTo>
                    <a:pt x="2379" y="2398"/>
                  </a:lnTo>
                  <a:lnTo>
                    <a:pt x="2373" y="2382"/>
                  </a:lnTo>
                  <a:lnTo>
                    <a:pt x="2367" y="2366"/>
                  </a:lnTo>
                  <a:lnTo>
                    <a:pt x="2359" y="2350"/>
                  </a:lnTo>
                  <a:lnTo>
                    <a:pt x="2352" y="2335"/>
                  </a:lnTo>
                  <a:lnTo>
                    <a:pt x="2344" y="2320"/>
                  </a:lnTo>
                  <a:lnTo>
                    <a:pt x="2336" y="2307"/>
                  </a:lnTo>
                  <a:lnTo>
                    <a:pt x="2327" y="2292"/>
                  </a:lnTo>
                  <a:lnTo>
                    <a:pt x="2318" y="2278"/>
                  </a:lnTo>
                  <a:lnTo>
                    <a:pt x="2308" y="2265"/>
                  </a:lnTo>
                  <a:lnTo>
                    <a:pt x="2299" y="2251"/>
                  </a:lnTo>
                  <a:lnTo>
                    <a:pt x="2288" y="2238"/>
                  </a:lnTo>
                  <a:lnTo>
                    <a:pt x="2277" y="2225"/>
                  </a:lnTo>
                  <a:lnTo>
                    <a:pt x="2266" y="2214"/>
                  </a:lnTo>
                  <a:lnTo>
                    <a:pt x="2254" y="2202"/>
                  </a:lnTo>
                  <a:lnTo>
                    <a:pt x="2241" y="2190"/>
                  </a:lnTo>
                  <a:lnTo>
                    <a:pt x="2228" y="2178"/>
                  </a:lnTo>
                  <a:lnTo>
                    <a:pt x="2215" y="2169"/>
                  </a:lnTo>
                  <a:lnTo>
                    <a:pt x="2202" y="2158"/>
                  </a:lnTo>
                  <a:lnTo>
                    <a:pt x="2188" y="2149"/>
                  </a:lnTo>
                  <a:lnTo>
                    <a:pt x="2173" y="2140"/>
                  </a:lnTo>
                  <a:lnTo>
                    <a:pt x="2158" y="2131"/>
                  </a:lnTo>
                  <a:lnTo>
                    <a:pt x="2143" y="2123"/>
                  </a:lnTo>
                  <a:lnTo>
                    <a:pt x="2128" y="2115"/>
                  </a:lnTo>
                  <a:lnTo>
                    <a:pt x="2112" y="2109"/>
                  </a:lnTo>
                  <a:lnTo>
                    <a:pt x="2095" y="2103"/>
                  </a:lnTo>
                  <a:lnTo>
                    <a:pt x="2078" y="2096"/>
                  </a:lnTo>
                  <a:lnTo>
                    <a:pt x="2061" y="2091"/>
                  </a:lnTo>
                  <a:lnTo>
                    <a:pt x="2044" y="2086"/>
                  </a:lnTo>
                  <a:lnTo>
                    <a:pt x="2026" y="2081"/>
                  </a:lnTo>
                  <a:lnTo>
                    <a:pt x="2007" y="2077"/>
                  </a:lnTo>
                  <a:lnTo>
                    <a:pt x="1975" y="2072"/>
                  </a:lnTo>
                  <a:lnTo>
                    <a:pt x="1946" y="2069"/>
                  </a:lnTo>
                  <a:lnTo>
                    <a:pt x="1916" y="2067"/>
                  </a:lnTo>
                  <a:lnTo>
                    <a:pt x="1888" y="2067"/>
                  </a:lnTo>
                  <a:lnTo>
                    <a:pt x="1874" y="2069"/>
                  </a:lnTo>
                  <a:lnTo>
                    <a:pt x="1861" y="2071"/>
                  </a:lnTo>
                  <a:lnTo>
                    <a:pt x="1847" y="2073"/>
                  </a:lnTo>
                  <a:lnTo>
                    <a:pt x="1836" y="2075"/>
                  </a:lnTo>
                  <a:lnTo>
                    <a:pt x="1823" y="2078"/>
                  </a:lnTo>
                  <a:lnTo>
                    <a:pt x="1811" y="2081"/>
                  </a:lnTo>
                  <a:lnTo>
                    <a:pt x="1799" y="2086"/>
                  </a:lnTo>
                  <a:lnTo>
                    <a:pt x="1788" y="2090"/>
                  </a:lnTo>
                  <a:lnTo>
                    <a:pt x="1765" y="2101"/>
                  </a:lnTo>
                  <a:lnTo>
                    <a:pt x="1745" y="2112"/>
                  </a:lnTo>
                  <a:lnTo>
                    <a:pt x="1726" y="2126"/>
                  </a:lnTo>
                  <a:lnTo>
                    <a:pt x="1708" y="2142"/>
                  </a:lnTo>
                  <a:lnTo>
                    <a:pt x="1691" y="2159"/>
                  </a:lnTo>
                  <a:lnTo>
                    <a:pt x="1676" y="2177"/>
                  </a:lnTo>
                  <a:lnTo>
                    <a:pt x="1662" y="2198"/>
                  </a:lnTo>
                  <a:lnTo>
                    <a:pt x="1649" y="2220"/>
                  </a:lnTo>
                  <a:lnTo>
                    <a:pt x="1637" y="2244"/>
                  </a:lnTo>
                  <a:lnTo>
                    <a:pt x="1628" y="2268"/>
                  </a:lnTo>
                  <a:lnTo>
                    <a:pt x="1619" y="2295"/>
                  </a:lnTo>
                  <a:lnTo>
                    <a:pt x="1613" y="2321"/>
                  </a:lnTo>
                  <a:lnTo>
                    <a:pt x="1607" y="2350"/>
                  </a:lnTo>
                  <a:lnTo>
                    <a:pt x="1604" y="2380"/>
                  </a:lnTo>
                  <a:lnTo>
                    <a:pt x="1601" y="2412"/>
                  </a:lnTo>
                  <a:lnTo>
                    <a:pt x="1601" y="2444"/>
                  </a:lnTo>
                  <a:lnTo>
                    <a:pt x="1601" y="2477"/>
                  </a:lnTo>
                  <a:lnTo>
                    <a:pt x="1604" y="2509"/>
                  </a:lnTo>
                  <a:lnTo>
                    <a:pt x="1607" y="2541"/>
                  </a:lnTo>
                  <a:lnTo>
                    <a:pt x="1613" y="2572"/>
                  </a:lnTo>
                  <a:lnTo>
                    <a:pt x="1619" y="2602"/>
                  </a:lnTo>
                  <a:lnTo>
                    <a:pt x="1628" y="2632"/>
                  </a:lnTo>
                  <a:lnTo>
                    <a:pt x="1637" y="2660"/>
                  </a:lnTo>
                  <a:lnTo>
                    <a:pt x="1649" y="2689"/>
                  </a:lnTo>
                  <a:lnTo>
                    <a:pt x="1662" y="2715"/>
                  </a:lnTo>
                  <a:lnTo>
                    <a:pt x="1676" y="2741"/>
                  </a:lnTo>
                  <a:lnTo>
                    <a:pt x="1691" y="2767"/>
                  </a:lnTo>
                  <a:lnTo>
                    <a:pt x="1708" y="2790"/>
                  </a:lnTo>
                  <a:lnTo>
                    <a:pt x="1726" y="2812"/>
                  </a:lnTo>
                  <a:lnTo>
                    <a:pt x="1745" y="2834"/>
                  </a:lnTo>
                  <a:lnTo>
                    <a:pt x="1765" y="2854"/>
                  </a:lnTo>
                  <a:lnTo>
                    <a:pt x="1788" y="2873"/>
                  </a:lnTo>
                  <a:lnTo>
                    <a:pt x="1811" y="2891"/>
                  </a:lnTo>
                  <a:lnTo>
                    <a:pt x="1836" y="2907"/>
                  </a:lnTo>
                  <a:lnTo>
                    <a:pt x="1861" y="2922"/>
                  </a:lnTo>
                  <a:lnTo>
                    <a:pt x="1888" y="2935"/>
                  </a:lnTo>
                  <a:lnTo>
                    <a:pt x="1916" y="2947"/>
                  </a:lnTo>
                  <a:lnTo>
                    <a:pt x="1946" y="2958"/>
                  </a:lnTo>
                  <a:lnTo>
                    <a:pt x="1975" y="2966"/>
                  </a:lnTo>
                  <a:lnTo>
                    <a:pt x="2007" y="2974"/>
                  </a:lnTo>
                  <a:lnTo>
                    <a:pt x="2026" y="2977"/>
                  </a:lnTo>
                  <a:lnTo>
                    <a:pt x="2044" y="2979"/>
                  </a:lnTo>
                  <a:lnTo>
                    <a:pt x="2061" y="2981"/>
                  </a:lnTo>
                  <a:lnTo>
                    <a:pt x="2078" y="2982"/>
                  </a:lnTo>
                  <a:lnTo>
                    <a:pt x="2095" y="2983"/>
                  </a:lnTo>
                  <a:lnTo>
                    <a:pt x="2112" y="2983"/>
                  </a:lnTo>
                  <a:lnTo>
                    <a:pt x="2128" y="2983"/>
                  </a:lnTo>
                  <a:lnTo>
                    <a:pt x="2143" y="2981"/>
                  </a:lnTo>
                  <a:lnTo>
                    <a:pt x="2158" y="2979"/>
                  </a:lnTo>
                  <a:lnTo>
                    <a:pt x="2173" y="2977"/>
                  </a:lnTo>
                  <a:lnTo>
                    <a:pt x="2188" y="2974"/>
                  </a:lnTo>
                  <a:lnTo>
                    <a:pt x="2202" y="2969"/>
                  </a:lnTo>
                  <a:lnTo>
                    <a:pt x="2215" y="2965"/>
                  </a:lnTo>
                  <a:lnTo>
                    <a:pt x="2228" y="2960"/>
                  </a:lnTo>
                  <a:lnTo>
                    <a:pt x="2241" y="2953"/>
                  </a:lnTo>
                  <a:lnTo>
                    <a:pt x="2254" y="2947"/>
                  </a:lnTo>
                  <a:lnTo>
                    <a:pt x="2266" y="2939"/>
                  </a:lnTo>
                  <a:lnTo>
                    <a:pt x="2277" y="2932"/>
                  </a:lnTo>
                  <a:lnTo>
                    <a:pt x="2288" y="2923"/>
                  </a:lnTo>
                  <a:lnTo>
                    <a:pt x="2299" y="2915"/>
                  </a:lnTo>
                  <a:lnTo>
                    <a:pt x="2308" y="2905"/>
                  </a:lnTo>
                  <a:lnTo>
                    <a:pt x="2318" y="2896"/>
                  </a:lnTo>
                  <a:lnTo>
                    <a:pt x="2327" y="2886"/>
                  </a:lnTo>
                  <a:lnTo>
                    <a:pt x="2336" y="2875"/>
                  </a:lnTo>
                  <a:lnTo>
                    <a:pt x="2344" y="2864"/>
                  </a:lnTo>
                  <a:lnTo>
                    <a:pt x="2352" y="2852"/>
                  </a:lnTo>
                  <a:lnTo>
                    <a:pt x="2359" y="2840"/>
                  </a:lnTo>
                  <a:lnTo>
                    <a:pt x="2367" y="2827"/>
                  </a:lnTo>
                  <a:lnTo>
                    <a:pt x="2373" y="2814"/>
                  </a:lnTo>
                  <a:lnTo>
                    <a:pt x="2379" y="2801"/>
                  </a:lnTo>
                  <a:lnTo>
                    <a:pt x="2384" y="2786"/>
                  </a:lnTo>
                  <a:lnTo>
                    <a:pt x="2389" y="2772"/>
                  </a:lnTo>
                  <a:lnTo>
                    <a:pt x="2262" y="2712"/>
                  </a:lnTo>
                  <a:lnTo>
                    <a:pt x="2256" y="2732"/>
                  </a:lnTo>
                  <a:lnTo>
                    <a:pt x="2247" y="2752"/>
                  </a:lnTo>
                  <a:lnTo>
                    <a:pt x="2239" y="2770"/>
                  </a:lnTo>
                  <a:lnTo>
                    <a:pt x="2228" y="2786"/>
                  </a:lnTo>
                  <a:lnTo>
                    <a:pt x="2216" y="2800"/>
                  </a:lnTo>
                  <a:lnTo>
                    <a:pt x="2203" y="2814"/>
                  </a:lnTo>
                  <a:lnTo>
                    <a:pt x="2189" y="2825"/>
                  </a:lnTo>
                  <a:lnTo>
                    <a:pt x="2174" y="2836"/>
                  </a:lnTo>
                  <a:lnTo>
                    <a:pt x="2165" y="2840"/>
                  </a:lnTo>
                  <a:lnTo>
                    <a:pt x="2157" y="2844"/>
                  </a:lnTo>
                  <a:lnTo>
                    <a:pt x="2148" y="2849"/>
                  </a:lnTo>
                  <a:lnTo>
                    <a:pt x="2139" y="2852"/>
                  </a:lnTo>
                  <a:lnTo>
                    <a:pt x="2120" y="2856"/>
                  </a:lnTo>
                  <a:lnTo>
                    <a:pt x="2100" y="2859"/>
                  </a:lnTo>
                  <a:lnTo>
                    <a:pt x="2079" y="2862"/>
                  </a:lnTo>
                  <a:lnTo>
                    <a:pt x="2055" y="2860"/>
                  </a:lnTo>
                  <a:lnTo>
                    <a:pt x="2032" y="2858"/>
                  </a:lnTo>
                  <a:lnTo>
                    <a:pt x="2007" y="2854"/>
                  </a:lnTo>
                  <a:lnTo>
                    <a:pt x="1985" y="2850"/>
                  </a:lnTo>
                  <a:lnTo>
                    <a:pt x="1964" y="2843"/>
                  </a:lnTo>
                  <a:lnTo>
                    <a:pt x="1943" y="2836"/>
                  </a:lnTo>
                  <a:lnTo>
                    <a:pt x="1923" y="2827"/>
                  </a:lnTo>
                  <a:lnTo>
                    <a:pt x="1905" y="2818"/>
                  </a:lnTo>
                  <a:lnTo>
                    <a:pt x="1887" y="2807"/>
                  </a:lnTo>
                  <a:lnTo>
                    <a:pt x="1871" y="2795"/>
                  </a:lnTo>
                  <a:lnTo>
                    <a:pt x="1855" y="2783"/>
                  </a:lnTo>
                  <a:lnTo>
                    <a:pt x="1840" y="2769"/>
                  </a:lnTo>
                  <a:lnTo>
                    <a:pt x="1826" y="2755"/>
                  </a:lnTo>
                  <a:lnTo>
                    <a:pt x="1813" y="2739"/>
                  </a:lnTo>
                  <a:lnTo>
                    <a:pt x="1802" y="2723"/>
                  </a:lnTo>
                  <a:lnTo>
                    <a:pt x="1790" y="2706"/>
                  </a:lnTo>
                  <a:lnTo>
                    <a:pt x="1780" y="2688"/>
                  </a:lnTo>
                  <a:lnTo>
                    <a:pt x="1771" y="2669"/>
                  </a:lnTo>
                  <a:lnTo>
                    <a:pt x="1763" y="2649"/>
                  </a:lnTo>
                  <a:lnTo>
                    <a:pt x="1756" y="2629"/>
                  </a:lnTo>
                  <a:lnTo>
                    <a:pt x="1749" y="2609"/>
                  </a:lnTo>
                  <a:lnTo>
                    <a:pt x="1744" y="2586"/>
                  </a:lnTo>
                  <a:lnTo>
                    <a:pt x="1740" y="2565"/>
                  </a:lnTo>
                  <a:lnTo>
                    <a:pt x="1736" y="2542"/>
                  </a:lnTo>
                  <a:lnTo>
                    <a:pt x="1734" y="2519"/>
                  </a:lnTo>
                  <a:lnTo>
                    <a:pt x="1733" y="2495"/>
                  </a:lnTo>
                  <a:lnTo>
                    <a:pt x="1732" y="2471"/>
                  </a:lnTo>
                  <a:lnTo>
                    <a:pt x="1733" y="2446"/>
                  </a:lnTo>
                  <a:lnTo>
                    <a:pt x="1734" y="2424"/>
                  </a:lnTo>
                  <a:lnTo>
                    <a:pt x="1736" y="2402"/>
                  </a:lnTo>
                  <a:lnTo>
                    <a:pt x="1741" y="2380"/>
                  </a:lnTo>
                  <a:lnTo>
                    <a:pt x="1745" y="2360"/>
                  </a:lnTo>
                  <a:lnTo>
                    <a:pt x="1750" y="2341"/>
                  </a:lnTo>
                  <a:lnTo>
                    <a:pt x="1756" y="2321"/>
                  </a:lnTo>
                  <a:lnTo>
                    <a:pt x="1763" y="2304"/>
                  </a:lnTo>
                  <a:lnTo>
                    <a:pt x="1772" y="2288"/>
                  </a:lnTo>
                  <a:lnTo>
                    <a:pt x="1780" y="2272"/>
                  </a:lnTo>
                  <a:lnTo>
                    <a:pt x="1791" y="2259"/>
                  </a:lnTo>
                  <a:lnTo>
                    <a:pt x="1802" y="2246"/>
                  </a:lnTo>
                  <a:lnTo>
                    <a:pt x="1813" y="2235"/>
                  </a:lnTo>
                  <a:lnTo>
                    <a:pt x="1826" y="2224"/>
                  </a:lnTo>
                  <a:lnTo>
                    <a:pt x="1840" y="2215"/>
                  </a:lnTo>
                  <a:lnTo>
                    <a:pt x="1855" y="2207"/>
                  </a:lnTo>
                  <a:close/>
                  <a:moveTo>
                    <a:pt x="2633" y="2337"/>
                  </a:moveTo>
                  <a:lnTo>
                    <a:pt x="3068" y="2424"/>
                  </a:lnTo>
                  <a:lnTo>
                    <a:pt x="3068" y="3166"/>
                  </a:lnTo>
                  <a:lnTo>
                    <a:pt x="3192" y="3190"/>
                  </a:lnTo>
                  <a:lnTo>
                    <a:pt x="3192" y="2331"/>
                  </a:lnTo>
                  <a:lnTo>
                    <a:pt x="2509" y="2194"/>
                  </a:lnTo>
                  <a:lnTo>
                    <a:pt x="2509" y="3055"/>
                  </a:lnTo>
                  <a:lnTo>
                    <a:pt x="2633" y="3079"/>
                  </a:lnTo>
                  <a:lnTo>
                    <a:pt x="2633" y="2337"/>
                  </a:lnTo>
                  <a:close/>
                  <a:moveTo>
                    <a:pt x="2659" y="535"/>
                  </a:moveTo>
                  <a:lnTo>
                    <a:pt x="0" y="0"/>
                  </a:lnTo>
                  <a:lnTo>
                    <a:pt x="0" y="2523"/>
                  </a:lnTo>
                  <a:lnTo>
                    <a:pt x="106" y="2547"/>
                  </a:lnTo>
                  <a:lnTo>
                    <a:pt x="106" y="133"/>
                  </a:lnTo>
                  <a:lnTo>
                    <a:pt x="2655" y="640"/>
                  </a:lnTo>
                  <a:lnTo>
                    <a:pt x="2659" y="535"/>
                  </a:lnTo>
                  <a:close/>
                  <a:moveTo>
                    <a:pt x="3762" y="3829"/>
                  </a:moveTo>
                  <a:lnTo>
                    <a:pt x="2555" y="3588"/>
                  </a:lnTo>
                  <a:lnTo>
                    <a:pt x="2555" y="3693"/>
                  </a:lnTo>
                  <a:lnTo>
                    <a:pt x="3868" y="3962"/>
                  </a:lnTo>
                  <a:lnTo>
                    <a:pt x="3868" y="2715"/>
                  </a:lnTo>
                  <a:lnTo>
                    <a:pt x="3762" y="2688"/>
                  </a:lnTo>
                  <a:lnTo>
                    <a:pt x="3762" y="38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B1E15F3F-12B1-8793-B06D-0B207881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08833" y="378561"/>
              <a:ext cx="1033529" cy="219288"/>
            </a:xfrm>
            <a:custGeom>
              <a:avLst/>
              <a:gdLst>
                <a:gd name="T0" fmla="*/ 1171 w 16100"/>
                <a:gd name="T1" fmla="*/ 712 h 3416"/>
                <a:gd name="T2" fmla="*/ 1871 w 16100"/>
                <a:gd name="T3" fmla="*/ 1146 h 3416"/>
                <a:gd name="T4" fmla="*/ 2109 w 16100"/>
                <a:gd name="T5" fmla="*/ 843 h 3416"/>
                <a:gd name="T6" fmla="*/ 2496 w 16100"/>
                <a:gd name="T7" fmla="*/ 697 h 3416"/>
                <a:gd name="T8" fmla="*/ 2840 w 16100"/>
                <a:gd name="T9" fmla="*/ 718 h 3416"/>
                <a:gd name="T10" fmla="*/ 3069 w 16100"/>
                <a:gd name="T11" fmla="*/ 832 h 3416"/>
                <a:gd name="T12" fmla="*/ 3243 w 16100"/>
                <a:gd name="T13" fmla="*/ 1027 h 3416"/>
                <a:gd name="T14" fmla="*/ 2781 w 16100"/>
                <a:gd name="T15" fmla="*/ 985 h 3416"/>
                <a:gd name="T16" fmla="*/ 2544 w 16100"/>
                <a:gd name="T17" fmla="*/ 956 h 3416"/>
                <a:gd name="T18" fmla="*/ 2315 w 16100"/>
                <a:gd name="T19" fmla="*/ 1050 h 3416"/>
                <a:gd name="T20" fmla="*/ 2178 w 16100"/>
                <a:gd name="T21" fmla="*/ 1244 h 3416"/>
                <a:gd name="T22" fmla="*/ 2159 w 16100"/>
                <a:gd name="T23" fmla="*/ 1499 h 3416"/>
                <a:gd name="T24" fmla="*/ 2267 w 16100"/>
                <a:gd name="T25" fmla="*/ 1714 h 3416"/>
                <a:gd name="T26" fmla="*/ 2474 w 16100"/>
                <a:gd name="T27" fmla="*/ 1839 h 3416"/>
                <a:gd name="T28" fmla="*/ 2755 w 16100"/>
                <a:gd name="T29" fmla="*/ 1834 h 3416"/>
                <a:gd name="T30" fmla="*/ 2969 w 16100"/>
                <a:gd name="T31" fmla="*/ 1657 h 3416"/>
                <a:gd name="T32" fmla="*/ 3085 w 16100"/>
                <a:gd name="T33" fmla="*/ 1963 h 3416"/>
                <a:gd name="T34" fmla="*/ 2864 w 16100"/>
                <a:gd name="T35" fmla="*/ 2083 h 3416"/>
                <a:gd name="T36" fmla="*/ 2536 w 16100"/>
                <a:gd name="T37" fmla="*/ 2116 h 3416"/>
                <a:gd name="T38" fmla="*/ 2139 w 16100"/>
                <a:gd name="T39" fmla="*/ 1986 h 3416"/>
                <a:gd name="T40" fmla="*/ 1885 w 16100"/>
                <a:gd name="T41" fmla="*/ 1695 h 3416"/>
                <a:gd name="T42" fmla="*/ 3731 w 16100"/>
                <a:gd name="T43" fmla="*/ 971 h 3416"/>
                <a:gd name="T44" fmla="*/ 6287 w 16100"/>
                <a:gd name="T45" fmla="*/ 1216 h 3416"/>
                <a:gd name="T46" fmla="*/ 6564 w 16100"/>
                <a:gd name="T47" fmla="*/ 1280 h 3416"/>
                <a:gd name="T48" fmla="*/ 6732 w 16100"/>
                <a:gd name="T49" fmla="*/ 1447 h 3416"/>
                <a:gd name="T50" fmla="*/ 6782 w 16100"/>
                <a:gd name="T51" fmla="*/ 1677 h 3416"/>
                <a:gd name="T52" fmla="*/ 6710 w 16100"/>
                <a:gd name="T53" fmla="*/ 1899 h 3416"/>
                <a:gd name="T54" fmla="*/ 6523 w 16100"/>
                <a:gd name="T55" fmla="*/ 2050 h 3416"/>
                <a:gd name="T56" fmla="*/ 5582 w 16100"/>
                <a:gd name="T57" fmla="*/ 712 h 3416"/>
                <a:gd name="T58" fmla="*/ 6367 w 16100"/>
                <a:gd name="T59" fmla="*/ 1807 h 3416"/>
                <a:gd name="T60" fmla="*/ 6451 w 16100"/>
                <a:gd name="T61" fmla="*/ 1703 h 3416"/>
                <a:gd name="T62" fmla="*/ 6448 w 16100"/>
                <a:gd name="T63" fmla="*/ 1597 h 3416"/>
                <a:gd name="T64" fmla="*/ 6348 w 16100"/>
                <a:gd name="T65" fmla="*/ 1494 h 3416"/>
                <a:gd name="T66" fmla="*/ 7555 w 16100"/>
                <a:gd name="T67" fmla="*/ 2033 h 3416"/>
                <a:gd name="T68" fmla="*/ 7311 w 16100"/>
                <a:gd name="T69" fmla="*/ 2117 h 3416"/>
                <a:gd name="T70" fmla="*/ 7111 w 16100"/>
                <a:gd name="T71" fmla="*/ 2094 h 3416"/>
                <a:gd name="T72" fmla="*/ 6957 w 16100"/>
                <a:gd name="T73" fmla="*/ 1991 h 3416"/>
                <a:gd name="T74" fmla="*/ 6884 w 16100"/>
                <a:gd name="T75" fmla="*/ 1808 h 3416"/>
                <a:gd name="T76" fmla="*/ 6936 w 16100"/>
                <a:gd name="T77" fmla="*/ 1609 h 3416"/>
                <a:gd name="T78" fmla="*/ 7080 w 16100"/>
                <a:gd name="T79" fmla="*/ 1499 h 3416"/>
                <a:gd name="T80" fmla="*/ 7259 w 16100"/>
                <a:gd name="T81" fmla="*/ 1465 h 3416"/>
                <a:gd name="T82" fmla="*/ 7520 w 16100"/>
                <a:gd name="T83" fmla="*/ 1523 h 3416"/>
                <a:gd name="T84" fmla="*/ 7595 w 16100"/>
                <a:gd name="T85" fmla="*/ 1407 h 3416"/>
                <a:gd name="T86" fmla="*/ 7503 w 16100"/>
                <a:gd name="T87" fmla="*/ 1310 h 3416"/>
                <a:gd name="T88" fmla="*/ 7258 w 16100"/>
                <a:gd name="T89" fmla="*/ 1296 h 3416"/>
                <a:gd name="T90" fmla="*/ 7049 w 16100"/>
                <a:gd name="T91" fmla="*/ 1402 h 3416"/>
                <a:gd name="T92" fmla="*/ 7224 w 16100"/>
                <a:gd name="T93" fmla="*/ 1090 h 3416"/>
                <a:gd name="T94" fmla="*/ 7527 w 16100"/>
                <a:gd name="T95" fmla="*/ 1076 h 3416"/>
                <a:gd name="T96" fmla="*/ 7742 w 16100"/>
                <a:gd name="T97" fmla="*/ 1150 h 3416"/>
                <a:gd name="T98" fmla="*/ 7871 w 16100"/>
                <a:gd name="T99" fmla="*/ 1326 h 3416"/>
                <a:gd name="T100" fmla="*/ 7592 w 16100"/>
                <a:gd name="T101" fmla="*/ 1720 h 3416"/>
                <a:gd name="T102" fmla="*/ 7441 w 16100"/>
                <a:gd name="T103" fmla="*/ 1648 h 3416"/>
                <a:gd name="T104" fmla="*/ 7244 w 16100"/>
                <a:gd name="T105" fmla="*/ 1672 h 3416"/>
                <a:gd name="T106" fmla="*/ 7172 w 16100"/>
                <a:gd name="T107" fmla="*/ 1776 h 3416"/>
                <a:gd name="T108" fmla="*/ 7195 w 16100"/>
                <a:gd name="T109" fmla="*/ 1870 h 3416"/>
                <a:gd name="T110" fmla="*/ 7374 w 16100"/>
                <a:gd name="T111" fmla="*/ 1941 h 3416"/>
                <a:gd name="T112" fmla="*/ 7547 w 16100"/>
                <a:gd name="T113" fmla="*/ 1900 h 3416"/>
                <a:gd name="T114" fmla="*/ 8878 w 16100"/>
                <a:gd name="T115" fmla="*/ 1094 h 3416"/>
                <a:gd name="T116" fmla="*/ 9709 w 16100"/>
                <a:gd name="T117" fmla="*/ 2095 h 3416"/>
                <a:gd name="T118" fmla="*/ 13892 w 16100"/>
                <a:gd name="T119" fmla="*/ 3416 h 3416"/>
                <a:gd name="T120" fmla="*/ 14648 w 16100"/>
                <a:gd name="T121" fmla="*/ 1078 h 3416"/>
                <a:gd name="T122" fmla="*/ 13021 w 16100"/>
                <a:gd name="T123" fmla="*/ 1191 h 3416"/>
                <a:gd name="T124" fmla="*/ 10883 w 16100"/>
                <a:gd name="T125" fmla="*/ 0 h 3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00" h="3416">
                  <a:moveTo>
                    <a:pt x="1299" y="2095"/>
                  </a:moveTo>
                  <a:lnTo>
                    <a:pt x="1299" y="1127"/>
                  </a:lnTo>
                  <a:lnTo>
                    <a:pt x="878" y="2095"/>
                  </a:lnTo>
                  <a:lnTo>
                    <a:pt x="739" y="2095"/>
                  </a:lnTo>
                  <a:lnTo>
                    <a:pt x="318" y="1127"/>
                  </a:lnTo>
                  <a:lnTo>
                    <a:pt x="318" y="2095"/>
                  </a:lnTo>
                  <a:lnTo>
                    <a:pt x="0" y="2095"/>
                  </a:lnTo>
                  <a:lnTo>
                    <a:pt x="0" y="712"/>
                  </a:lnTo>
                  <a:lnTo>
                    <a:pt x="446" y="712"/>
                  </a:lnTo>
                  <a:lnTo>
                    <a:pt x="808" y="1547"/>
                  </a:lnTo>
                  <a:lnTo>
                    <a:pt x="1171" y="712"/>
                  </a:lnTo>
                  <a:lnTo>
                    <a:pt x="1619" y="712"/>
                  </a:lnTo>
                  <a:lnTo>
                    <a:pt x="1619" y="2095"/>
                  </a:lnTo>
                  <a:lnTo>
                    <a:pt x="1299" y="2095"/>
                  </a:lnTo>
                  <a:close/>
                  <a:moveTo>
                    <a:pt x="1823" y="1404"/>
                  </a:moveTo>
                  <a:lnTo>
                    <a:pt x="1824" y="1365"/>
                  </a:lnTo>
                  <a:lnTo>
                    <a:pt x="1827" y="1326"/>
                  </a:lnTo>
                  <a:lnTo>
                    <a:pt x="1832" y="1288"/>
                  </a:lnTo>
                  <a:lnTo>
                    <a:pt x="1838" y="1252"/>
                  </a:lnTo>
                  <a:lnTo>
                    <a:pt x="1847" y="1216"/>
                  </a:lnTo>
                  <a:lnTo>
                    <a:pt x="1859" y="1180"/>
                  </a:lnTo>
                  <a:lnTo>
                    <a:pt x="1871" y="1146"/>
                  </a:lnTo>
                  <a:lnTo>
                    <a:pt x="1885" y="1113"/>
                  </a:lnTo>
                  <a:lnTo>
                    <a:pt x="1900" y="1082"/>
                  </a:lnTo>
                  <a:lnTo>
                    <a:pt x="1917" y="1050"/>
                  </a:lnTo>
                  <a:lnTo>
                    <a:pt x="1936" y="1020"/>
                  </a:lnTo>
                  <a:lnTo>
                    <a:pt x="1957" y="991"/>
                  </a:lnTo>
                  <a:lnTo>
                    <a:pt x="1978" y="964"/>
                  </a:lnTo>
                  <a:lnTo>
                    <a:pt x="2001" y="936"/>
                  </a:lnTo>
                  <a:lnTo>
                    <a:pt x="2027" y="911"/>
                  </a:lnTo>
                  <a:lnTo>
                    <a:pt x="2053" y="887"/>
                  </a:lnTo>
                  <a:lnTo>
                    <a:pt x="2080" y="864"/>
                  </a:lnTo>
                  <a:lnTo>
                    <a:pt x="2109" y="843"/>
                  </a:lnTo>
                  <a:lnTo>
                    <a:pt x="2139" y="823"/>
                  </a:lnTo>
                  <a:lnTo>
                    <a:pt x="2169" y="803"/>
                  </a:lnTo>
                  <a:lnTo>
                    <a:pt x="2202" y="785"/>
                  </a:lnTo>
                  <a:lnTo>
                    <a:pt x="2236" y="769"/>
                  </a:lnTo>
                  <a:lnTo>
                    <a:pt x="2270" y="754"/>
                  </a:lnTo>
                  <a:lnTo>
                    <a:pt x="2305" y="741"/>
                  </a:lnTo>
                  <a:lnTo>
                    <a:pt x="2342" y="729"/>
                  </a:lnTo>
                  <a:lnTo>
                    <a:pt x="2379" y="719"/>
                  </a:lnTo>
                  <a:lnTo>
                    <a:pt x="2417" y="710"/>
                  </a:lnTo>
                  <a:lnTo>
                    <a:pt x="2455" y="703"/>
                  </a:lnTo>
                  <a:lnTo>
                    <a:pt x="2496" y="697"/>
                  </a:lnTo>
                  <a:lnTo>
                    <a:pt x="2536" y="692"/>
                  </a:lnTo>
                  <a:lnTo>
                    <a:pt x="2577" y="689"/>
                  </a:lnTo>
                  <a:lnTo>
                    <a:pt x="2618" y="689"/>
                  </a:lnTo>
                  <a:lnTo>
                    <a:pt x="2648" y="689"/>
                  </a:lnTo>
                  <a:lnTo>
                    <a:pt x="2679" y="690"/>
                  </a:lnTo>
                  <a:lnTo>
                    <a:pt x="2707" y="693"/>
                  </a:lnTo>
                  <a:lnTo>
                    <a:pt x="2735" y="697"/>
                  </a:lnTo>
                  <a:lnTo>
                    <a:pt x="2762" y="701"/>
                  </a:lnTo>
                  <a:lnTo>
                    <a:pt x="2789" y="706"/>
                  </a:lnTo>
                  <a:lnTo>
                    <a:pt x="2814" y="712"/>
                  </a:lnTo>
                  <a:lnTo>
                    <a:pt x="2840" y="718"/>
                  </a:lnTo>
                  <a:lnTo>
                    <a:pt x="2865" y="725"/>
                  </a:lnTo>
                  <a:lnTo>
                    <a:pt x="2888" y="733"/>
                  </a:lnTo>
                  <a:lnTo>
                    <a:pt x="2911" y="742"/>
                  </a:lnTo>
                  <a:lnTo>
                    <a:pt x="2933" y="751"/>
                  </a:lnTo>
                  <a:lnTo>
                    <a:pt x="2954" y="761"/>
                  </a:lnTo>
                  <a:lnTo>
                    <a:pt x="2975" y="771"/>
                  </a:lnTo>
                  <a:lnTo>
                    <a:pt x="2996" y="782"/>
                  </a:lnTo>
                  <a:lnTo>
                    <a:pt x="3015" y="793"/>
                  </a:lnTo>
                  <a:lnTo>
                    <a:pt x="3034" y="805"/>
                  </a:lnTo>
                  <a:lnTo>
                    <a:pt x="3052" y="818"/>
                  </a:lnTo>
                  <a:lnTo>
                    <a:pt x="3069" y="832"/>
                  </a:lnTo>
                  <a:lnTo>
                    <a:pt x="3086" y="845"/>
                  </a:lnTo>
                  <a:lnTo>
                    <a:pt x="3102" y="859"/>
                  </a:lnTo>
                  <a:lnTo>
                    <a:pt x="3118" y="873"/>
                  </a:lnTo>
                  <a:lnTo>
                    <a:pt x="3132" y="887"/>
                  </a:lnTo>
                  <a:lnTo>
                    <a:pt x="3148" y="902"/>
                  </a:lnTo>
                  <a:lnTo>
                    <a:pt x="3162" y="916"/>
                  </a:lnTo>
                  <a:lnTo>
                    <a:pt x="3175" y="932"/>
                  </a:lnTo>
                  <a:lnTo>
                    <a:pt x="3188" y="947"/>
                  </a:lnTo>
                  <a:lnTo>
                    <a:pt x="3200" y="964"/>
                  </a:lnTo>
                  <a:lnTo>
                    <a:pt x="3222" y="995"/>
                  </a:lnTo>
                  <a:lnTo>
                    <a:pt x="3243" y="1027"/>
                  </a:lnTo>
                  <a:lnTo>
                    <a:pt x="2969" y="1152"/>
                  </a:lnTo>
                  <a:lnTo>
                    <a:pt x="2957" y="1131"/>
                  </a:lnTo>
                  <a:lnTo>
                    <a:pt x="2943" y="1111"/>
                  </a:lnTo>
                  <a:lnTo>
                    <a:pt x="2927" y="1092"/>
                  </a:lnTo>
                  <a:lnTo>
                    <a:pt x="2910" y="1073"/>
                  </a:lnTo>
                  <a:lnTo>
                    <a:pt x="2892" y="1055"/>
                  </a:lnTo>
                  <a:lnTo>
                    <a:pt x="2872" y="1039"/>
                  </a:lnTo>
                  <a:lnTo>
                    <a:pt x="2851" y="1023"/>
                  </a:lnTo>
                  <a:lnTo>
                    <a:pt x="2829" y="1009"/>
                  </a:lnTo>
                  <a:lnTo>
                    <a:pt x="2805" y="996"/>
                  </a:lnTo>
                  <a:lnTo>
                    <a:pt x="2781" y="985"/>
                  </a:lnTo>
                  <a:lnTo>
                    <a:pt x="2755" y="975"/>
                  </a:lnTo>
                  <a:lnTo>
                    <a:pt x="2730" y="966"/>
                  </a:lnTo>
                  <a:lnTo>
                    <a:pt x="2703" y="960"/>
                  </a:lnTo>
                  <a:lnTo>
                    <a:pt x="2675" y="955"/>
                  </a:lnTo>
                  <a:lnTo>
                    <a:pt x="2662" y="953"/>
                  </a:lnTo>
                  <a:lnTo>
                    <a:pt x="2647" y="952"/>
                  </a:lnTo>
                  <a:lnTo>
                    <a:pt x="2632" y="951"/>
                  </a:lnTo>
                  <a:lnTo>
                    <a:pt x="2618" y="951"/>
                  </a:lnTo>
                  <a:lnTo>
                    <a:pt x="2593" y="951"/>
                  </a:lnTo>
                  <a:lnTo>
                    <a:pt x="2568" y="953"/>
                  </a:lnTo>
                  <a:lnTo>
                    <a:pt x="2544" y="956"/>
                  </a:lnTo>
                  <a:lnTo>
                    <a:pt x="2521" y="960"/>
                  </a:lnTo>
                  <a:lnTo>
                    <a:pt x="2498" y="964"/>
                  </a:lnTo>
                  <a:lnTo>
                    <a:pt x="2474" y="970"/>
                  </a:lnTo>
                  <a:lnTo>
                    <a:pt x="2452" y="977"/>
                  </a:lnTo>
                  <a:lnTo>
                    <a:pt x="2431" y="985"/>
                  </a:lnTo>
                  <a:lnTo>
                    <a:pt x="2410" y="994"/>
                  </a:lnTo>
                  <a:lnTo>
                    <a:pt x="2390" y="1003"/>
                  </a:lnTo>
                  <a:lnTo>
                    <a:pt x="2370" y="1014"/>
                  </a:lnTo>
                  <a:lnTo>
                    <a:pt x="2352" y="1025"/>
                  </a:lnTo>
                  <a:lnTo>
                    <a:pt x="2332" y="1037"/>
                  </a:lnTo>
                  <a:lnTo>
                    <a:pt x="2315" y="1050"/>
                  </a:lnTo>
                  <a:lnTo>
                    <a:pt x="2298" y="1064"/>
                  </a:lnTo>
                  <a:lnTo>
                    <a:pt x="2282" y="1080"/>
                  </a:lnTo>
                  <a:lnTo>
                    <a:pt x="2267" y="1095"/>
                  </a:lnTo>
                  <a:lnTo>
                    <a:pt x="2253" y="1111"/>
                  </a:lnTo>
                  <a:lnTo>
                    <a:pt x="2240" y="1128"/>
                  </a:lnTo>
                  <a:lnTo>
                    <a:pt x="2227" y="1146"/>
                  </a:lnTo>
                  <a:lnTo>
                    <a:pt x="2215" y="1164"/>
                  </a:lnTo>
                  <a:lnTo>
                    <a:pt x="2205" y="1183"/>
                  </a:lnTo>
                  <a:lnTo>
                    <a:pt x="2195" y="1203"/>
                  </a:lnTo>
                  <a:lnTo>
                    <a:pt x="2186" y="1224"/>
                  </a:lnTo>
                  <a:lnTo>
                    <a:pt x="2178" y="1244"/>
                  </a:lnTo>
                  <a:lnTo>
                    <a:pt x="2170" y="1265"/>
                  </a:lnTo>
                  <a:lnTo>
                    <a:pt x="2164" y="1287"/>
                  </a:lnTo>
                  <a:lnTo>
                    <a:pt x="2159" y="1309"/>
                  </a:lnTo>
                  <a:lnTo>
                    <a:pt x="2155" y="1333"/>
                  </a:lnTo>
                  <a:lnTo>
                    <a:pt x="2152" y="1356"/>
                  </a:lnTo>
                  <a:lnTo>
                    <a:pt x="2150" y="1380"/>
                  </a:lnTo>
                  <a:lnTo>
                    <a:pt x="2150" y="1404"/>
                  </a:lnTo>
                  <a:lnTo>
                    <a:pt x="2150" y="1428"/>
                  </a:lnTo>
                  <a:lnTo>
                    <a:pt x="2152" y="1452"/>
                  </a:lnTo>
                  <a:lnTo>
                    <a:pt x="2155" y="1476"/>
                  </a:lnTo>
                  <a:lnTo>
                    <a:pt x="2159" y="1499"/>
                  </a:lnTo>
                  <a:lnTo>
                    <a:pt x="2164" y="1521"/>
                  </a:lnTo>
                  <a:lnTo>
                    <a:pt x="2170" y="1543"/>
                  </a:lnTo>
                  <a:lnTo>
                    <a:pt x="2178" y="1564"/>
                  </a:lnTo>
                  <a:lnTo>
                    <a:pt x="2186" y="1586"/>
                  </a:lnTo>
                  <a:lnTo>
                    <a:pt x="2195" y="1606"/>
                  </a:lnTo>
                  <a:lnTo>
                    <a:pt x="2205" y="1626"/>
                  </a:lnTo>
                  <a:lnTo>
                    <a:pt x="2215" y="1644"/>
                  </a:lnTo>
                  <a:lnTo>
                    <a:pt x="2227" y="1663"/>
                  </a:lnTo>
                  <a:lnTo>
                    <a:pt x="2240" y="1680"/>
                  </a:lnTo>
                  <a:lnTo>
                    <a:pt x="2253" y="1697"/>
                  </a:lnTo>
                  <a:lnTo>
                    <a:pt x="2267" y="1714"/>
                  </a:lnTo>
                  <a:lnTo>
                    <a:pt x="2282" y="1730"/>
                  </a:lnTo>
                  <a:lnTo>
                    <a:pt x="2298" y="1744"/>
                  </a:lnTo>
                  <a:lnTo>
                    <a:pt x="2315" y="1758"/>
                  </a:lnTo>
                  <a:lnTo>
                    <a:pt x="2332" y="1771"/>
                  </a:lnTo>
                  <a:lnTo>
                    <a:pt x="2352" y="1784"/>
                  </a:lnTo>
                  <a:lnTo>
                    <a:pt x="2370" y="1795"/>
                  </a:lnTo>
                  <a:lnTo>
                    <a:pt x="2390" y="1805"/>
                  </a:lnTo>
                  <a:lnTo>
                    <a:pt x="2410" y="1815"/>
                  </a:lnTo>
                  <a:lnTo>
                    <a:pt x="2431" y="1824"/>
                  </a:lnTo>
                  <a:lnTo>
                    <a:pt x="2452" y="1832"/>
                  </a:lnTo>
                  <a:lnTo>
                    <a:pt x="2474" y="1839"/>
                  </a:lnTo>
                  <a:lnTo>
                    <a:pt x="2498" y="1845"/>
                  </a:lnTo>
                  <a:lnTo>
                    <a:pt x="2521" y="1850"/>
                  </a:lnTo>
                  <a:lnTo>
                    <a:pt x="2544" y="1854"/>
                  </a:lnTo>
                  <a:lnTo>
                    <a:pt x="2568" y="1856"/>
                  </a:lnTo>
                  <a:lnTo>
                    <a:pt x="2593" y="1858"/>
                  </a:lnTo>
                  <a:lnTo>
                    <a:pt x="2618" y="1859"/>
                  </a:lnTo>
                  <a:lnTo>
                    <a:pt x="2647" y="1858"/>
                  </a:lnTo>
                  <a:lnTo>
                    <a:pt x="2675" y="1855"/>
                  </a:lnTo>
                  <a:lnTo>
                    <a:pt x="2703" y="1850"/>
                  </a:lnTo>
                  <a:lnTo>
                    <a:pt x="2730" y="1843"/>
                  </a:lnTo>
                  <a:lnTo>
                    <a:pt x="2755" y="1834"/>
                  </a:lnTo>
                  <a:lnTo>
                    <a:pt x="2781" y="1824"/>
                  </a:lnTo>
                  <a:lnTo>
                    <a:pt x="2805" y="1813"/>
                  </a:lnTo>
                  <a:lnTo>
                    <a:pt x="2829" y="1800"/>
                  </a:lnTo>
                  <a:lnTo>
                    <a:pt x="2851" y="1786"/>
                  </a:lnTo>
                  <a:lnTo>
                    <a:pt x="2872" y="1771"/>
                  </a:lnTo>
                  <a:lnTo>
                    <a:pt x="2892" y="1754"/>
                  </a:lnTo>
                  <a:lnTo>
                    <a:pt x="2910" y="1737"/>
                  </a:lnTo>
                  <a:lnTo>
                    <a:pt x="2927" y="1718"/>
                  </a:lnTo>
                  <a:lnTo>
                    <a:pt x="2943" y="1698"/>
                  </a:lnTo>
                  <a:lnTo>
                    <a:pt x="2957" y="1678"/>
                  </a:lnTo>
                  <a:lnTo>
                    <a:pt x="2969" y="1657"/>
                  </a:lnTo>
                  <a:lnTo>
                    <a:pt x="3243" y="1779"/>
                  </a:lnTo>
                  <a:lnTo>
                    <a:pt x="3222" y="1811"/>
                  </a:lnTo>
                  <a:lnTo>
                    <a:pt x="3199" y="1844"/>
                  </a:lnTo>
                  <a:lnTo>
                    <a:pt x="3187" y="1860"/>
                  </a:lnTo>
                  <a:lnTo>
                    <a:pt x="3174" y="1875"/>
                  </a:lnTo>
                  <a:lnTo>
                    <a:pt x="3161" y="1890"/>
                  </a:lnTo>
                  <a:lnTo>
                    <a:pt x="3147" y="1905"/>
                  </a:lnTo>
                  <a:lnTo>
                    <a:pt x="3131" y="1920"/>
                  </a:lnTo>
                  <a:lnTo>
                    <a:pt x="3116" y="1934"/>
                  </a:lnTo>
                  <a:lnTo>
                    <a:pt x="3101" y="1948"/>
                  </a:lnTo>
                  <a:lnTo>
                    <a:pt x="3085" y="1963"/>
                  </a:lnTo>
                  <a:lnTo>
                    <a:pt x="3068" y="1976"/>
                  </a:lnTo>
                  <a:lnTo>
                    <a:pt x="3051" y="1989"/>
                  </a:lnTo>
                  <a:lnTo>
                    <a:pt x="3033" y="2002"/>
                  </a:lnTo>
                  <a:lnTo>
                    <a:pt x="3014" y="2014"/>
                  </a:lnTo>
                  <a:lnTo>
                    <a:pt x="2995" y="2026"/>
                  </a:lnTo>
                  <a:lnTo>
                    <a:pt x="2974" y="2037"/>
                  </a:lnTo>
                  <a:lnTo>
                    <a:pt x="2953" y="2047"/>
                  </a:lnTo>
                  <a:lnTo>
                    <a:pt x="2932" y="2057"/>
                  </a:lnTo>
                  <a:lnTo>
                    <a:pt x="2910" y="2066"/>
                  </a:lnTo>
                  <a:lnTo>
                    <a:pt x="2887" y="2075"/>
                  </a:lnTo>
                  <a:lnTo>
                    <a:pt x="2864" y="2083"/>
                  </a:lnTo>
                  <a:lnTo>
                    <a:pt x="2840" y="2091"/>
                  </a:lnTo>
                  <a:lnTo>
                    <a:pt x="2814" y="2097"/>
                  </a:lnTo>
                  <a:lnTo>
                    <a:pt x="2789" y="2103"/>
                  </a:lnTo>
                  <a:lnTo>
                    <a:pt x="2762" y="2108"/>
                  </a:lnTo>
                  <a:lnTo>
                    <a:pt x="2735" y="2112"/>
                  </a:lnTo>
                  <a:lnTo>
                    <a:pt x="2707" y="2115"/>
                  </a:lnTo>
                  <a:lnTo>
                    <a:pt x="2679" y="2118"/>
                  </a:lnTo>
                  <a:lnTo>
                    <a:pt x="2648" y="2119"/>
                  </a:lnTo>
                  <a:lnTo>
                    <a:pt x="2618" y="2120"/>
                  </a:lnTo>
                  <a:lnTo>
                    <a:pt x="2577" y="2119"/>
                  </a:lnTo>
                  <a:lnTo>
                    <a:pt x="2536" y="2116"/>
                  </a:lnTo>
                  <a:lnTo>
                    <a:pt x="2496" y="2112"/>
                  </a:lnTo>
                  <a:lnTo>
                    <a:pt x="2455" y="2106"/>
                  </a:lnTo>
                  <a:lnTo>
                    <a:pt x="2417" y="2099"/>
                  </a:lnTo>
                  <a:lnTo>
                    <a:pt x="2379" y="2090"/>
                  </a:lnTo>
                  <a:lnTo>
                    <a:pt x="2342" y="2079"/>
                  </a:lnTo>
                  <a:lnTo>
                    <a:pt x="2305" y="2067"/>
                  </a:lnTo>
                  <a:lnTo>
                    <a:pt x="2270" y="2054"/>
                  </a:lnTo>
                  <a:lnTo>
                    <a:pt x="2236" y="2039"/>
                  </a:lnTo>
                  <a:lnTo>
                    <a:pt x="2202" y="2023"/>
                  </a:lnTo>
                  <a:lnTo>
                    <a:pt x="2169" y="2005"/>
                  </a:lnTo>
                  <a:lnTo>
                    <a:pt x="2139" y="1986"/>
                  </a:lnTo>
                  <a:lnTo>
                    <a:pt x="2109" y="1966"/>
                  </a:lnTo>
                  <a:lnTo>
                    <a:pt x="2080" y="1944"/>
                  </a:lnTo>
                  <a:lnTo>
                    <a:pt x="2053" y="1921"/>
                  </a:lnTo>
                  <a:lnTo>
                    <a:pt x="2027" y="1897"/>
                  </a:lnTo>
                  <a:lnTo>
                    <a:pt x="2001" y="1872"/>
                  </a:lnTo>
                  <a:lnTo>
                    <a:pt x="1978" y="1845"/>
                  </a:lnTo>
                  <a:lnTo>
                    <a:pt x="1957" y="1817"/>
                  </a:lnTo>
                  <a:lnTo>
                    <a:pt x="1936" y="1788"/>
                  </a:lnTo>
                  <a:lnTo>
                    <a:pt x="1917" y="1759"/>
                  </a:lnTo>
                  <a:lnTo>
                    <a:pt x="1900" y="1728"/>
                  </a:lnTo>
                  <a:lnTo>
                    <a:pt x="1885" y="1695"/>
                  </a:lnTo>
                  <a:lnTo>
                    <a:pt x="1871" y="1662"/>
                  </a:lnTo>
                  <a:lnTo>
                    <a:pt x="1859" y="1628"/>
                  </a:lnTo>
                  <a:lnTo>
                    <a:pt x="1847" y="1593"/>
                  </a:lnTo>
                  <a:lnTo>
                    <a:pt x="1838" y="1557"/>
                  </a:lnTo>
                  <a:lnTo>
                    <a:pt x="1832" y="1520"/>
                  </a:lnTo>
                  <a:lnTo>
                    <a:pt x="1827" y="1483"/>
                  </a:lnTo>
                  <a:lnTo>
                    <a:pt x="1824" y="1443"/>
                  </a:lnTo>
                  <a:lnTo>
                    <a:pt x="1823" y="1404"/>
                  </a:lnTo>
                  <a:close/>
                  <a:moveTo>
                    <a:pt x="4437" y="2095"/>
                  </a:moveTo>
                  <a:lnTo>
                    <a:pt x="4437" y="971"/>
                  </a:lnTo>
                  <a:lnTo>
                    <a:pt x="3731" y="971"/>
                  </a:lnTo>
                  <a:lnTo>
                    <a:pt x="3731" y="2095"/>
                  </a:lnTo>
                  <a:lnTo>
                    <a:pt x="3413" y="2095"/>
                  </a:lnTo>
                  <a:lnTo>
                    <a:pt x="3413" y="712"/>
                  </a:lnTo>
                  <a:lnTo>
                    <a:pt x="4758" y="712"/>
                  </a:lnTo>
                  <a:lnTo>
                    <a:pt x="4758" y="2095"/>
                  </a:lnTo>
                  <a:lnTo>
                    <a:pt x="4437" y="2095"/>
                  </a:lnTo>
                  <a:close/>
                  <a:moveTo>
                    <a:pt x="6672" y="712"/>
                  </a:moveTo>
                  <a:lnTo>
                    <a:pt x="6672" y="971"/>
                  </a:lnTo>
                  <a:lnTo>
                    <a:pt x="5900" y="971"/>
                  </a:lnTo>
                  <a:lnTo>
                    <a:pt x="5900" y="1216"/>
                  </a:lnTo>
                  <a:lnTo>
                    <a:pt x="6287" y="1216"/>
                  </a:lnTo>
                  <a:lnTo>
                    <a:pt x="6316" y="1216"/>
                  </a:lnTo>
                  <a:lnTo>
                    <a:pt x="6345" y="1218"/>
                  </a:lnTo>
                  <a:lnTo>
                    <a:pt x="6373" y="1221"/>
                  </a:lnTo>
                  <a:lnTo>
                    <a:pt x="6400" y="1225"/>
                  </a:lnTo>
                  <a:lnTo>
                    <a:pt x="6426" y="1230"/>
                  </a:lnTo>
                  <a:lnTo>
                    <a:pt x="6451" y="1236"/>
                  </a:lnTo>
                  <a:lnTo>
                    <a:pt x="6475" y="1243"/>
                  </a:lnTo>
                  <a:lnTo>
                    <a:pt x="6498" y="1251"/>
                  </a:lnTo>
                  <a:lnTo>
                    <a:pt x="6522" y="1260"/>
                  </a:lnTo>
                  <a:lnTo>
                    <a:pt x="6543" y="1269"/>
                  </a:lnTo>
                  <a:lnTo>
                    <a:pt x="6564" y="1280"/>
                  </a:lnTo>
                  <a:lnTo>
                    <a:pt x="6584" y="1291"/>
                  </a:lnTo>
                  <a:lnTo>
                    <a:pt x="6603" y="1304"/>
                  </a:lnTo>
                  <a:lnTo>
                    <a:pt x="6620" y="1317"/>
                  </a:lnTo>
                  <a:lnTo>
                    <a:pt x="6638" y="1332"/>
                  </a:lnTo>
                  <a:lnTo>
                    <a:pt x="6654" y="1346"/>
                  </a:lnTo>
                  <a:lnTo>
                    <a:pt x="6669" y="1361"/>
                  </a:lnTo>
                  <a:lnTo>
                    <a:pt x="6684" y="1377"/>
                  </a:lnTo>
                  <a:lnTo>
                    <a:pt x="6697" y="1394"/>
                  </a:lnTo>
                  <a:lnTo>
                    <a:pt x="6710" y="1411"/>
                  </a:lnTo>
                  <a:lnTo>
                    <a:pt x="6721" y="1429"/>
                  </a:lnTo>
                  <a:lnTo>
                    <a:pt x="6732" y="1447"/>
                  </a:lnTo>
                  <a:lnTo>
                    <a:pt x="6741" y="1467"/>
                  </a:lnTo>
                  <a:lnTo>
                    <a:pt x="6750" y="1486"/>
                  </a:lnTo>
                  <a:lnTo>
                    <a:pt x="6757" y="1506"/>
                  </a:lnTo>
                  <a:lnTo>
                    <a:pt x="6764" y="1526"/>
                  </a:lnTo>
                  <a:lnTo>
                    <a:pt x="6769" y="1546"/>
                  </a:lnTo>
                  <a:lnTo>
                    <a:pt x="6774" y="1567"/>
                  </a:lnTo>
                  <a:lnTo>
                    <a:pt x="6777" y="1590"/>
                  </a:lnTo>
                  <a:lnTo>
                    <a:pt x="6780" y="1611"/>
                  </a:lnTo>
                  <a:lnTo>
                    <a:pt x="6782" y="1633"/>
                  </a:lnTo>
                  <a:lnTo>
                    <a:pt x="6782" y="1655"/>
                  </a:lnTo>
                  <a:lnTo>
                    <a:pt x="6782" y="1677"/>
                  </a:lnTo>
                  <a:lnTo>
                    <a:pt x="6780" y="1699"/>
                  </a:lnTo>
                  <a:lnTo>
                    <a:pt x="6778" y="1721"/>
                  </a:lnTo>
                  <a:lnTo>
                    <a:pt x="6774" y="1743"/>
                  </a:lnTo>
                  <a:lnTo>
                    <a:pt x="6769" y="1764"/>
                  </a:lnTo>
                  <a:lnTo>
                    <a:pt x="6764" y="1784"/>
                  </a:lnTo>
                  <a:lnTo>
                    <a:pt x="6757" y="1804"/>
                  </a:lnTo>
                  <a:lnTo>
                    <a:pt x="6750" y="1824"/>
                  </a:lnTo>
                  <a:lnTo>
                    <a:pt x="6741" y="1844"/>
                  </a:lnTo>
                  <a:lnTo>
                    <a:pt x="6732" y="1863"/>
                  </a:lnTo>
                  <a:lnTo>
                    <a:pt x="6722" y="1881"/>
                  </a:lnTo>
                  <a:lnTo>
                    <a:pt x="6710" y="1899"/>
                  </a:lnTo>
                  <a:lnTo>
                    <a:pt x="6698" y="1916"/>
                  </a:lnTo>
                  <a:lnTo>
                    <a:pt x="6685" y="1933"/>
                  </a:lnTo>
                  <a:lnTo>
                    <a:pt x="6670" y="1949"/>
                  </a:lnTo>
                  <a:lnTo>
                    <a:pt x="6654" y="1965"/>
                  </a:lnTo>
                  <a:lnTo>
                    <a:pt x="6638" y="1979"/>
                  </a:lnTo>
                  <a:lnTo>
                    <a:pt x="6621" y="1993"/>
                  </a:lnTo>
                  <a:lnTo>
                    <a:pt x="6603" y="2006"/>
                  </a:lnTo>
                  <a:lnTo>
                    <a:pt x="6585" y="2018"/>
                  </a:lnTo>
                  <a:lnTo>
                    <a:pt x="6565" y="2030"/>
                  </a:lnTo>
                  <a:lnTo>
                    <a:pt x="6544" y="2041"/>
                  </a:lnTo>
                  <a:lnTo>
                    <a:pt x="6523" y="2050"/>
                  </a:lnTo>
                  <a:lnTo>
                    <a:pt x="6499" y="2059"/>
                  </a:lnTo>
                  <a:lnTo>
                    <a:pt x="6476" y="2067"/>
                  </a:lnTo>
                  <a:lnTo>
                    <a:pt x="6452" y="2074"/>
                  </a:lnTo>
                  <a:lnTo>
                    <a:pt x="6427" y="2080"/>
                  </a:lnTo>
                  <a:lnTo>
                    <a:pt x="6401" y="2085"/>
                  </a:lnTo>
                  <a:lnTo>
                    <a:pt x="6374" y="2090"/>
                  </a:lnTo>
                  <a:lnTo>
                    <a:pt x="6345" y="2093"/>
                  </a:lnTo>
                  <a:lnTo>
                    <a:pt x="6317" y="2095"/>
                  </a:lnTo>
                  <a:lnTo>
                    <a:pt x="6287" y="2095"/>
                  </a:lnTo>
                  <a:lnTo>
                    <a:pt x="5582" y="2095"/>
                  </a:lnTo>
                  <a:lnTo>
                    <a:pt x="5582" y="712"/>
                  </a:lnTo>
                  <a:lnTo>
                    <a:pt x="6672" y="712"/>
                  </a:lnTo>
                  <a:close/>
                  <a:moveTo>
                    <a:pt x="5900" y="1475"/>
                  </a:moveTo>
                  <a:lnTo>
                    <a:pt x="5900" y="1475"/>
                  </a:lnTo>
                  <a:lnTo>
                    <a:pt x="5900" y="1836"/>
                  </a:lnTo>
                  <a:lnTo>
                    <a:pt x="6245" y="1836"/>
                  </a:lnTo>
                  <a:lnTo>
                    <a:pt x="6268" y="1834"/>
                  </a:lnTo>
                  <a:lnTo>
                    <a:pt x="6289" y="1832"/>
                  </a:lnTo>
                  <a:lnTo>
                    <a:pt x="6310" y="1828"/>
                  </a:lnTo>
                  <a:lnTo>
                    <a:pt x="6330" y="1822"/>
                  </a:lnTo>
                  <a:lnTo>
                    <a:pt x="6348" y="1815"/>
                  </a:lnTo>
                  <a:lnTo>
                    <a:pt x="6367" y="1807"/>
                  </a:lnTo>
                  <a:lnTo>
                    <a:pt x="6383" y="1797"/>
                  </a:lnTo>
                  <a:lnTo>
                    <a:pt x="6398" y="1786"/>
                  </a:lnTo>
                  <a:lnTo>
                    <a:pt x="6411" y="1774"/>
                  </a:lnTo>
                  <a:lnTo>
                    <a:pt x="6423" y="1760"/>
                  </a:lnTo>
                  <a:lnTo>
                    <a:pt x="6428" y="1753"/>
                  </a:lnTo>
                  <a:lnTo>
                    <a:pt x="6433" y="1746"/>
                  </a:lnTo>
                  <a:lnTo>
                    <a:pt x="6437" y="1738"/>
                  </a:lnTo>
                  <a:lnTo>
                    <a:pt x="6441" y="1730"/>
                  </a:lnTo>
                  <a:lnTo>
                    <a:pt x="6445" y="1722"/>
                  </a:lnTo>
                  <a:lnTo>
                    <a:pt x="6448" y="1713"/>
                  </a:lnTo>
                  <a:lnTo>
                    <a:pt x="6451" y="1703"/>
                  </a:lnTo>
                  <a:lnTo>
                    <a:pt x="6453" y="1694"/>
                  </a:lnTo>
                  <a:lnTo>
                    <a:pt x="6455" y="1685"/>
                  </a:lnTo>
                  <a:lnTo>
                    <a:pt x="6456" y="1675"/>
                  </a:lnTo>
                  <a:lnTo>
                    <a:pt x="6457" y="1665"/>
                  </a:lnTo>
                  <a:lnTo>
                    <a:pt x="6457" y="1655"/>
                  </a:lnTo>
                  <a:lnTo>
                    <a:pt x="6457" y="1645"/>
                  </a:lnTo>
                  <a:lnTo>
                    <a:pt x="6456" y="1635"/>
                  </a:lnTo>
                  <a:lnTo>
                    <a:pt x="6455" y="1625"/>
                  </a:lnTo>
                  <a:lnTo>
                    <a:pt x="6453" y="1615"/>
                  </a:lnTo>
                  <a:lnTo>
                    <a:pt x="6451" y="1606"/>
                  </a:lnTo>
                  <a:lnTo>
                    <a:pt x="6448" y="1597"/>
                  </a:lnTo>
                  <a:lnTo>
                    <a:pt x="6445" y="1589"/>
                  </a:lnTo>
                  <a:lnTo>
                    <a:pt x="6441" y="1579"/>
                  </a:lnTo>
                  <a:lnTo>
                    <a:pt x="6437" y="1571"/>
                  </a:lnTo>
                  <a:lnTo>
                    <a:pt x="6433" y="1563"/>
                  </a:lnTo>
                  <a:lnTo>
                    <a:pt x="6428" y="1556"/>
                  </a:lnTo>
                  <a:lnTo>
                    <a:pt x="6423" y="1549"/>
                  </a:lnTo>
                  <a:lnTo>
                    <a:pt x="6411" y="1535"/>
                  </a:lnTo>
                  <a:lnTo>
                    <a:pt x="6398" y="1523"/>
                  </a:lnTo>
                  <a:lnTo>
                    <a:pt x="6383" y="1512"/>
                  </a:lnTo>
                  <a:lnTo>
                    <a:pt x="6367" y="1502"/>
                  </a:lnTo>
                  <a:lnTo>
                    <a:pt x="6348" y="1494"/>
                  </a:lnTo>
                  <a:lnTo>
                    <a:pt x="6330" y="1487"/>
                  </a:lnTo>
                  <a:lnTo>
                    <a:pt x="6310" y="1482"/>
                  </a:lnTo>
                  <a:lnTo>
                    <a:pt x="6289" y="1478"/>
                  </a:lnTo>
                  <a:lnTo>
                    <a:pt x="6268" y="1476"/>
                  </a:lnTo>
                  <a:lnTo>
                    <a:pt x="6245" y="1475"/>
                  </a:lnTo>
                  <a:lnTo>
                    <a:pt x="5900" y="1475"/>
                  </a:lnTo>
                  <a:close/>
                  <a:moveTo>
                    <a:pt x="7602" y="2095"/>
                  </a:moveTo>
                  <a:lnTo>
                    <a:pt x="7602" y="1991"/>
                  </a:lnTo>
                  <a:lnTo>
                    <a:pt x="7587" y="2006"/>
                  </a:lnTo>
                  <a:lnTo>
                    <a:pt x="7572" y="2020"/>
                  </a:lnTo>
                  <a:lnTo>
                    <a:pt x="7555" y="2033"/>
                  </a:lnTo>
                  <a:lnTo>
                    <a:pt x="7537" y="2045"/>
                  </a:lnTo>
                  <a:lnTo>
                    <a:pt x="7518" y="2056"/>
                  </a:lnTo>
                  <a:lnTo>
                    <a:pt x="7499" y="2067"/>
                  </a:lnTo>
                  <a:lnTo>
                    <a:pt x="7477" y="2076"/>
                  </a:lnTo>
                  <a:lnTo>
                    <a:pt x="7456" y="2085"/>
                  </a:lnTo>
                  <a:lnTo>
                    <a:pt x="7433" y="2094"/>
                  </a:lnTo>
                  <a:lnTo>
                    <a:pt x="7410" y="2100"/>
                  </a:lnTo>
                  <a:lnTo>
                    <a:pt x="7387" y="2106"/>
                  </a:lnTo>
                  <a:lnTo>
                    <a:pt x="7362" y="2111"/>
                  </a:lnTo>
                  <a:lnTo>
                    <a:pt x="7337" y="2115"/>
                  </a:lnTo>
                  <a:lnTo>
                    <a:pt x="7311" y="2117"/>
                  </a:lnTo>
                  <a:lnTo>
                    <a:pt x="7285" y="2119"/>
                  </a:lnTo>
                  <a:lnTo>
                    <a:pt x="7259" y="2120"/>
                  </a:lnTo>
                  <a:lnTo>
                    <a:pt x="7243" y="2119"/>
                  </a:lnTo>
                  <a:lnTo>
                    <a:pt x="7227" y="2118"/>
                  </a:lnTo>
                  <a:lnTo>
                    <a:pt x="7210" y="2117"/>
                  </a:lnTo>
                  <a:lnTo>
                    <a:pt x="7194" y="2115"/>
                  </a:lnTo>
                  <a:lnTo>
                    <a:pt x="7177" y="2112"/>
                  </a:lnTo>
                  <a:lnTo>
                    <a:pt x="7160" y="2108"/>
                  </a:lnTo>
                  <a:lnTo>
                    <a:pt x="7144" y="2104"/>
                  </a:lnTo>
                  <a:lnTo>
                    <a:pt x="7128" y="2099"/>
                  </a:lnTo>
                  <a:lnTo>
                    <a:pt x="7111" y="2094"/>
                  </a:lnTo>
                  <a:lnTo>
                    <a:pt x="7096" y="2087"/>
                  </a:lnTo>
                  <a:lnTo>
                    <a:pt x="7080" y="2080"/>
                  </a:lnTo>
                  <a:lnTo>
                    <a:pt x="7065" y="2073"/>
                  </a:lnTo>
                  <a:lnTo>
                    <a:pt x="7050" y="2065"/>
                  </a:lnTo>
                  <a:lnTo>
                    <a:pt x="7035" y="2057"/>
                  </a:lnTo>
                  <a:lnTo>
                    <a:pt x="7021" y="2047"/>
                  </a:lnTo>
                  <a:lnTo>
                    <a:pt x="7007" y="2037"/>
                  </a:lnTo>
                  <a:lnTo>
                    <a:pt x="6993" y="2027"/>
                  </a:lnTo>
                  <a:lnTo>
                    <a:pt x="6980" y="2016"/>
                  </a:lnTo>
                  <a:lnTo>
                    <a:pt x="6968" y="2004"/>
                  </a:lnTo>
                  <a:lnTo>
                    <a:pt x="6957" y="1991"/>
                  </a:lnTo>
                  <a:lnTo>
                    <a:pt x="6946" y="1978"/>
                  </a:lnTo>
                  <a:lnTo>
                    <a:pt x="6936" y="1964"/>
                  </a:lnTo>
                  <a:lnTo>
                    <a:pt x="6926" y="1949"/>
                  </a:lnTo>
                  <a:lnTo>
                    <a:pt x="6918" y="1934"/>
                  </a:lnTo>
                  <a:lnTo>
                    <a:pt x="6910" y="1918"/>
                  </a:lnTo>
                  <a:lnTo>
                    <a:pt x="6903" y="1901"/>
                  </a:lnTo>
                  <a:lnTo>
                    <a:pt x="6898" y="1884"/>
                  </a:lnTo>
                  <a:lnTo>
                    <a:pt x="6893" y="1866"/>
                  </a:lnTo>
                  <a:lnTo>
                    <a:pt x="6889" y="1848"/>
                  </a:lnTo>
                  <a:lnTo>
                    <a:pt x="6886" y="1828"/>
                  </a:lnTo>
                  <a:lnTo>
                    <a:pt x="6884" y="1808"/>
                  </a:lnTo>
                  <a:lnTo>
                    <a:pt x="6884" y="1788"/>
                  </a:lnTo>
                  <a:lnTo>
                    <a:pt x="6884" y="1766"/>
                  </a:lnTo>
                  <a:lnTo>
                    <a:pt x="6886" y="1746"/>
                  </a:lnTo>
                  <a:lnTo>
                    <a:pt x="6889" y="1726"/>
                  </a:lnTo>
                  <a:lnTo>
                    <a:pt x="6893" y="1706"/>
                  </a:lnTo>
                  <a:lnTo>
                    <a:pt x="6898" y="1688"/>
                  </a:lnTo>
                  <a:lnTo>
                    <a:pt x="6903" y="1671"/>
                  </a:lnTo>
                  <a:lnTo>
                    <a:pt x="6910" y="1654"/>
                  </a:lnTo>
                  <a:lnTo>
                    <a:pt x="6918" y="1639"/>
                  </a:lnTo>
                  <a:lnTo>
                    <a:pt x="6926" y="1624"/>
                  </a:lnTo>
                  <a:lnTo>
                    <a:pt x="6936" y="1609"/>
                  </a:lnTo>
                  <a:lnTo>
                    <a:pt x="6946" y="1596"/>
                  </a:lnTo>
                  <a:lnTo>
                    <a:pt x="6957" y="1583"/>
                  </a:lnTo>
                  <a:lnTo>
                    <a:pt x="6968" y="1570"/>
                  </a:lnTo>
                  <a:lnTo>
                    <a:pt x="6980" y="1559"/>
                  </a:lnTo>
                  <a:lnTo>
                    <a:pt x="6993" y="1548"/>
                  </a:lnTo>
                  <a:lnTo>
                    <a:pt x="7007" y="1538"/>
                  </a:lnTo>
                  <a:lnTo>
                    <a:pt x="7021" y="1529"/>
                  </a:lnTo>
                  <a:lnTo>
                    <a:pt x="7035" y="1520"/>
                  </a:lnTo>
                  <a:lnTo>
                    <a:pt x="7050" y="1512"/>
                  </a:lnTo>
                  <a:lnTo>
                    <a:pt x="7065" y="1505"/>
                  </a:lnTo>
                  <a:lnTo>
                    <a:pt x="7080" y="1499"/>
                  </a:lnTo>
                  <a:lnTo>
                    <a:pt x="7096" y="1493"/>
                  </a:lnTo>
                  <a:lnTo>
                    <a:pt x="7111" y="1487"/>
                  </a:lnTo>
                  <a:lnTo>
                    <a:pt x="7128" y="1482"/>
                  </a:lnTo>
                  <a:lnTo>
                    <a:pt x="7144" y="1478"/>
                  </a:lnTo>
                  <a:lnTo>
                    <a:pt x="7160" y="1475"/>
                  </a:lnTo>
                  <a:lnTo>
                    <a:pt x="7177" y="1472"/>
                  </a:lnTo>
                  <a:lnTo>
                    <a:pt x="7194" y="1469"/>
                  </a:lnTo>
                  <a:lnTo>
                    <a:pt x="7210" y="1467"/>
                  </a:lnTo>
                  <a:lnTo>
                    <a:pt x="7227" y="1466"/>
                  </a:lnTo>
                  <a:lnTo>
                    <a:pt x="7243" y="1465"/>
                  </a:lnTo>
                  <a:lnTo>
                    <a:pt x="7259" y="1465"/>
                  </a:lnTo>
                  <a:lnTo>
                    <a:pt x="7286" y="1465"/>
                  </a:lnTo>
                  <a:lnTo>
                    <a:pt x="7312" y="1467"/>
                  </a:lnTo>
                  <a:lnTo>
                    <a:pt x="7338" y="1469"/>
                  </a:lnTo>
                  <a:lnTo>
                    <a:pt x="7363" y="1473"/>
                  </a:lnTo>
                  <a:lnTo>
                    <a:pt x="7388" y="1477"/>
                  </a:lnTo>
                  <a:lnTo>
                    <a:pt x="7412" y="1483"/>
                  </a:lnTo>
                  <a:lnTo>
                    <a:pt x="7435" y="1489"/>
                  </a:lnTo>
                  <a:lnTo>
                    <a:pt x="7457" y="1496"/>
                  </a:lnTo>
                  <a:lnTo>
                    <a:pt x="7479" y="1504"/>
                  </a:lnTo>
                  <a:lnTo>
                    <a:pt x="7500" y="1513"/>
                  </a:lnTo>
                  <a:lnTo>
                    <a:pt x="7520" y="1523"/>
                  </a:lnTo>
                  <a:lnTo>
                    <a:pt x="7539" y="1534"/>
                  </a:lnTo>
                  <a:lnTo>
                    <a:pt x="7556" y="1546"/>
                  </a:lnTo>
                  <a:lnTo>
                    <a:pt x="7573" y="1558"/>
                  </a:lnTo>
                  <a:lnTo>
                    <a:pt x="7588" y="1572"/>
                  </a:lnTo>
                  <a:lnTo>
                    <a:pt x="7602" y="1587"/>
                  </a:lnTo>
                  <a:lnTo>
                    <a:pt x="7602" y="1452"/>
                  </a:lnTo>
                  <a:lnTo>
                    <a:pt x="7601" y="1442"/>
                  </a:lnTo>
                  <a:lnTo>
                    <a:pt x="7601" y="1433"/>
                  </a:lnTo>
                  <a:lnTo>
                    <a:pt x="7599" y="1424"/>
                  </a:lnTo>
                  <a:lnTo>
                    <a:pt x="7597" y="1415"/>
                  </a:lnTo>
                  <a:lnTo>
                    <a:pt x="7595" y="1407"/>
                  </a:lnTo>
                  <a:lnTo>
                    <a:pt x="7592" y="1399"/>
                  </a:lnTo>
                  <a:lnTo>
                    <a:pt x="7589" y="1391"/>
                  </a:lnTo>
                  <a:lnTo>
                    <a:pt x="7585" y="1383"/>
                  </a:lnTo>
                  <a:lnTo>
                    <a:pt x="7581" y="1376"/>
                  </a:lnTo>
                  <a:lnTo>
                    <a:pt x="7576" y="1368"/>
                  </a:lnTo>
                  <a:lnTo>
                    <a:pt x="7570" y="1361"/>
                  </a:lnTo>
                  <a:lnTo>
                    <a:pt x="7565" y="1355"/>
                  </a:lnTo>
                  <a:lnTo>
                    <a:pt x="7552" y="1342"/>
                  </a:lnTo>
                  <a:lnTo>
                    <a:pt x="7537" y="1331"/>
                  </a:lnTo>
                  <a:lnTo>
                    <a:pt x="7521" y="1319"/>
                  </a:lnTo>
                  <a:lnTo>
                    <a:pt x="7503" y="1310"/>
                  </a:lnTo>
                  <a:lnTo>
                    <a:pt x="7483" y="1302"/>
                  </a:lnTo>
                  <a:lnTo>
                    <a:pt x="7462" y="1296"/>
                  </a:lnTo>
                  <a:lnTo>
                    <a:pt x="7440" y="1291"/>
                  </a:lnTo>
                  <a:lnTo>
                    <a:pt x="7416" y="1287"/>
                  </a:lnTo>
                  <a:lnTo>
                    <a:pt x="7391" y="1285"/>
                  </a:lnTo>
                  <a:lnTo>
                    <a:pt x="7365" y="1284"/>
                  </a:lnTo>
                  <a:lnTo>
                    <a:pt x="7343" y="1285"/>
                  </a:lnTo>
                  <a:lnTo>
                    <a:pt x="7321" y="1286"/>
                  </a:lnTo>
                  <a:lnTo>
                    <a:pt x="7300" y="1288"/>
                  </a:lnTo>
                  <a:lnTo>
                    <a:pt x="7279" y="1291"/>
                  </a:lnTo>
                  <a:lnTo>
                    <a:pt x="7258" y="1296"/>
                  </a:lnTo>
                  <a:lnTo>
                    <a:pt x="7238" y="1301"/>
                  </a:lnTo>
                  <a:lnTo>
                    <a:pt x="7218" y="1306"/>
                  </a:lnTo>
                  <a:lnTo>
                    <a:pt x="7198" y="1313"/>
                  </a:lnTo>
                  <a:lnTo>
                    <a:pt x="7178" y="1321"/>
                  </a:lnTo>
                  <a:lnTo>
                    <a:pt x="7158" y="1331"/>
                  </a:lnTo>
                  <a:lnTo>
                    <a:pt x="7139" y="1340"/>
                  </a:lnTo>
                  <a:lnTo>
                    <a:pt x="7120" y="1351"/>
                  </a:lnTo>
                  <a:lnTo>
                    <a:pt x="7102" y="1362"/>
                  </a:lnTo>
                  <a:lnTo>
                    <a:pt x="7084" y="1375"/>
                  </a:lnTo>
                  <a:lnTo>
                    <a:pt x="7066" y="1388"/>
                  </a:lnTo>
                  <a:lnTo>
                    <a:pt x="7049" y="1402"/>
                  </a:lnTo>
                  <a:lnTo>
                    <a:pt x="6941" y="1226"/>
                  </a:lnTo>
                  <a:lnTo>
                    <a:pt x="6966" y="1207"/>
                  </a:lnTo>
                  <a:lnTo>
                    <a:pt x="6992" y="1188"/>
                  </a:lnTo>
                  <a:lnTo>
                    <a:pt x="7020" y="1171"/>
                  </a:lnTo>
                  <a:lnTo>
                    <a:pt x="7047" y="1156"/>
                  </a:lnTo>
                  <a:lnTo>
                    <a:pt x="7075" y="1142"/>
                  </a:lnTo>
                  <a:lnTo>
                    <a:pt x="7104" y="1129"/>
                  </a:lnTo>
                  <a:lnTo>
                    <a:pt x="7133" y="1117"/>
                  </a:lnTo>
                  <a:lnTo>
                    <a:pt x="7163" y="1107"/>
                  </a:lnTo>
                  <a:lnTo>
                    <a:pt x="7194" y="1098"/>
                  </a:lnTo>
                  <a:lnTo>
                    <a:pt x="7224" y="1090"/>
                  </a:lnTo>
                  <a:lnTo>
                    <a:pt x="7255" y="1084"/>
                  </a:lnTo>
                  <a:lnTo>
                    <a:pt x="7286" y="1078"/>
                  </a:lnTo>
                  <a:lnTo>
                    <a:pt x="7318" y="1073"/>
                  </a:lnTo>
                  <a:lnTo>
                    <a:pt x="7350" y="1070"/>
                  </a:lnTo>
                  <a:lnTo>
                    <a:pt x="7382" y="1069"/>
                  </a:lnTo>
                  <a:lnTo>
                    <a:pt x="7414" y="1068"/>
                  </a:lnTo>
                  <a:lnTo>
                    <a:pt x="7437" y="1068"/>
                  </a:lnTo>
                  <a:lnTo>
                    <a:pt x="7459" y="1069"/>
                  </a:lnTo>
                  <a:lnTo>
                    <a:pt x="7482" y="1070"/>
                  </a:lnTo>
                  <a:lnTo>
                    <a:pt x="7505" y="1072"/>
                  </a:lnTo>
                  <a:lnTo>
                    <a:pt x="7527" y="1076"/>
                  </a:lnTo>
                  <a:lnTo>
                    <a:pt x="7549" y="1079"/>
                  </a:lnTo>
                  <a:lnTo>
                    <a:pt x="7570" y="1083"/>
                  </a:lnTo>
                  <a:lnTo>
                    <a:pt x="7591" y="1088"/>
                  </a:lnTo>
                  <a:lnTo>
                    <a:pt x="7612" y="1093"/>
                  </a:lnTo>
                  <a:lnTo>
                    <a:pt x="7632" y="1099"/>
                  </a:lnTo>
                  <a:lnTo>
                    <a:pt x="7653" y="1105"/>
                  </a:lnTo>
                  <a:lnTo>
                    <a:pt x="7672" y="1113"/>
                  </a:lnTo>
                  <a:lnTo>
                    <a:pt x="7691" y="1121"/>
                  </a:lnTo>
                  <a:lnTo>
                    <a:pt x="7708" y="1130"/>
                  </a:lnTo>
                  <a:lnTo>
                    <a:pt x="7726" y="1139"/>
                  </a:lnTo>
                  <a:lnTo>
                    <a:pt x="7742" y="1150"/>
                  </a:lnTo>
                  <a:lnTo>
                    <a:pt x="7758" y="1161"/>
                  </a:lnTo>
                  <a:lnTo>
                    <a:pt x="7773" y="1174"/>
                  </a:lnTo>
                  <a:lnTo>
                    <a:pt x="7788" y="1187"/>
                  </a:lnTo>
                  <a:lnTo>
                    <a:pt x="7801" y="1201"/>
                  </a:lnTo>
                  <a:lnTo>
                    <a:pt x="7815" y="1217"/>
                  </a:lnTo>
                  <a:lnTo>
                    <a:pt x="7827" y="1232"/>
                  </a:lnTo>
                  <a:lnTo>
                    <a:pt x="7838" y="1249"/>
                  </a:lnTo>
                  <a:lnTo>
                    <a:pt x="7847" y="1267"/>
                  </a:lnTo>
                  <a:lnTo>
                    <a:pt x="7856" y="1286"/>
                  </a:lnTo>
                  <a:lnTo>
                    <a:pt x="7864" y="1305"/>
                  </a:lnTo>
                  <a:lnTo>
                    <a:pt x="7871" y="1326"/>
                  </a:lnTo>
                  <a:lnTo>
                    <a:pt x="7876" y="1349"/>
                  </a:lnTo>
                  <a:lnTo>
                    <a:pt x="7881" y="1372"/>
                  </a:lnTo>
                  <a:lnTo>
                    <a:pt x="7884" y="1396"/>
                  </a:lnTo>
                  <a:lnTo>
                    <a:pt x="7886" y="1421"/>
                  </a:lnTo>
                  <a:lnTo>
                    <a:pt x="7886" y="1447"/>
                  </a:lnTo>
                  <a:lnTo>
                    <a:pt x="7886" y="2095"/>
                  </a:lnTo>
                  <a:lnTo>
                    <a:pt x="7602" y="2095"/>
                  </a:lnTo>
                  <a:close/>
                  <a:moveTo>
                    <a:pt x="7602" y="1854"/>
                  </a:moveTo>
                  <a:lnTo>
                    <a:pt x="7602" y="1854"/>
                  </a:lnTo>
                  <a:lnTo>
                    <a:pt x="7602" y="1730"/>
                  </a:lnTo>
                  <a:lnTo>
                    <a:pt x="7592" y="1720"/>
                  </a:lnTo>
                  <a:lnTo>
                    <a:pt x="7582" y="1710"/>
                  </a:lnTo>
                  <a:lnTo>
                    <a:pt x="7571" y="1700"/>
                  </a:lnTo>
                  <a:lnTo>
                    <a:pt x="7559" y="1691"/>
                  </a:lnTo>
                  <a:lnTo>
                    <a:pt x="7547" y="1684"/>
                  </a:lnTo>
                  <a:lnTo>
                    <a:pt x="7533" y="1676"/>
                  </a:lnTo>
                  <a:lnTo>
                    <a:pt x="7519" y="1670"/>
                  </a:lnTo>
                  <a:lnTo>
                    <a:pt x="7505" y="1664"/>
                  </a:lnTo>
                  <a:lnTo>
                    <a:pt x="7490" y="1659"/>
                  </a:lnTo>
                  <a:lnTo>
                    <a:pt x="7473" y="1655"/>
                  </a:lnTo>
                  <a:lnTo>
                    <a:pt x="7457" y="1651"/>
                  </a:lnTo>
                  <a:lnTo>
                    <a:pt x="7441" y="1648"/>
                  </a:lnTo>
                  <a:lnTo>
                    <a:pt x="7424" y="1646"/>
                  </a:lnTo>
                  <a:lnTo>
                    <a:pt x="7408" y="1644"/>
                  </a:lnTo>
                  <a:lnTo>
                    <a:pt x="7391" y="1643"/>
                  </a:lnTo>
                  <a:lnTo>
                    <a:pt x="7374" y="1643"/>
                  </a:lnTo>
                  <a:lnTo>
                    <a:pt x="7353" y="1643"/>
                  </a:lnTo>
                  <a:lnTo>
                    <a:pt x="7333" y="1645"/>
                  </a:lnTo>
                  <a:lnTo>
                    <a:pt x="7313" y="1648"/>
                  </a:lnTo>
                  <a:lnTo>
                    <a:pt x="7294" y="1652"/>
                  </a:lnTo>
                  <a:lnTo>
                    <a:pt x="7277" y="1658"/>
                  </a:lnTo>
                  <a:lnTo>
                    <a:pt x="7260" y="1665"/>
                  </a:lnTo>
                  <a:lnTo>
                    <a:pt x="7244" y="1672"/>
                  </a:lnTo>
                  <a:lnTo>
                    <a:pt x="7230" y="1681"/>
                  </a:lnTo>
                  <a:lnTo>
                    <a:pt x="7217" y="1692"/>
                  </a:lnTo>
                  <a:lnTo>
                    <a:pt x="7205" y="1703"/>
                  </a:lnTo>
                  <a:lnTo>
                    <a:pt x="7195" y="1716"/>
                  </a:lnTo>
                  <a:lnTo>
                    <a:pt x="7186" y="1730"/>
                  </a:lnTo>
                  <a:lnTo>
                    <a:pt x="7183" y="1737"/>
                  </a:lnTo>
                  <a:lnTo>
                    <a:pt x="7180" y="1744"/>
                  </a:lnTo>
                  <a:lnTo>
                    <a:pt x="7177" y="1752"/>
                  </a:lnTo>
                  <a:lnTo>
                    <a:pt x="7175" y="1759"/>
                  </a:lnTo>
                  <a:lnTo>
                    <a:pt x="7173" y="1768"/>
                  </a:lnTo>
                  <a:lnTo>
                    <a:pt x="7172" y="1776"/>
                  </a:lnTo>
                  <a:lnTo>
                    <a:pt x="7171" y="1785"/>
                  </a:lnTo>
                  <a:lnTo>
                    <a:pt x="7170" y="1794"/>
                  </a:lnTo>
                  <a:lnTo>
                    <a:pt x="7171" y="1802"/>
                  </a:lnTo>
                  <a:lnTo>
                    <a:pt x="7172" y="1811"/>
                  </a:lnTo>
                  <a:lnTo>
                    <a:pt x="7173" y="1819"/>
                  </a:lnTo>
                  <a:lnTo>
                    <a:pt x="7175" y="1827"/>
                  </a:lnTo>
                  <a:lnTo>
                    <a:pt x="7177" y="1834"/>
                  </a:lnTo>
                  <a:lnTo>
                    <a:pt x="7180" y="1843"/>
                  </a:lnTo>
                  <a:lnTo>
                    <a:pt x="7183" y="1850"/>
                  </a:lnTo>
                  <a:lnTo>
                    <a:pt x="7186" y="1857"/>
                  </a:lnTo>
                  <a:lnTo>
                    <a:pt x="7195" y="1870"/>
                  </a:lnTo>
                  <a:lnTo>
                    <a:pt x="7205" y="1882"/>
                  </a:lnTo>
                  <a:lnTo>
                    <a:pt x="7217" y="1893"/>
                  </a:lnTo>
                  <a:lnTo>
                    <a:pt x="7230" y="1902"/>
                  </a:lnTo>
                  <a:lnTo>
                    <a:pt x="7244" y="1911"/>
                  </a:lnTo>
                  <a:lnTo>
                    <a:pt x="7260" y="1919"/>
                  </a:lnTo>
                  <a:lnTo>
                    <a:pt x="7277" y="1926"/>
                  </a:lnTo>
                  <a:lnTo>
                    <a:pt x="7294" y="1931"/>
                  </a:lnTo>
                  <a:lnTo>
                    <a:pt x="7313" y="1935"/>
                  </a:lnTo>
                  <a:lnTo>
                    <a:pt x="7333" y="1938"/>
                  </a:lnTo>
                  <a:lnTo>
                    <a:pt x="7353" y="1940"/>
                  </a:lnTo>
                  <a:lnTo>
                    <a:pt x="7374" y="1941"/>
                  </a:lnTo>
                  <a:lnTo>
                    <a:pt x="7391" y="1940"/>
                  </a:lnTo>
                  <a:lnTo>
                    <a:pt x="7408" y="1939"/>
                  </a:lnTo>
                  <a:lnTo>
                    <a:pt x="7424" y="1938"/>
                  </a:lnTo>
                  <a:lnTo>
                    <a:pt x="7441" y="1935"/>
                  </a:lnTo>
                  <a:lnTo>
                    <a:pt x="7457" y="1932"/>
                  </a:lnTo>
                  <a:lnTo>
                    <a:pt x="7473" y="1929"/>
                  </a:lnTo>
                  <a:lnTo>
                    <a:pt x="7490" y="1924"/>
                  </a:lnTo>
                  <a:lnTo>
                    <a:pt x="7505" y="1919"/>
                  </a:lnTo>
                  <a:lnTo>
                    <a:pt x="7519" y="1913"/>
                  </a:lnTo>
                  <a:lnTo>
                    <a:pt x="7533" y="1907"/>
                  </a:lnTo>
                  <a:lnTo>
                    <a:pt x="7547" y="1900"/>
                  </a:lnTo>
                  <a:lnTo>
                    <a:pt x="7559" y="1892"/>
                  </a:lnTo>
                  <a:lnTo>
                    <a:pt x="7571" y="1884"/>
                  </a:lnTo>
                  <a:lnTo>
                    <a:pt x="7582" y="1875"/>
                  </a:lnTo>
                  <a:lnTo>
                    <a:pt x="7592" y="1865"/>
                  </a:lnTo>
                  <a:lnTo>
                    <a:pt x="7602" y="1854"/>
                  </a:lnTo>
                  <a:close/>
                  <a:moveTo>
                    <a:pt x="8147" y="2095"/>
                  </a:moveTo>
                  <a:lnTo>
                    <a:pt x="8147" y="1094"/>
                  </a:lnTo>
                  <a:lnTo>
                    <a:pt x="8431" y="1094"/>
                  </a:lnTo>
                  <a:lnTo>
                    <a:pt x="8431" y="1465"/>
                  </a:lnTo>
                  <a:lnTo>
                    <a:pt x="8878" y="1465"/>
                  </a:lnTo>
                  <a:lnTo>
                    <a:pt x="8878" y="1094"/>
                  </a:lnTo>
                  <a:lnTo>
                    <a:pt x="9163" y="1094"/>
                  </a:lnTo>
                  <a:lnTo>
                    <a:pt x="9163" y="2095"/>
                  </a:lnTo>
                  <a:lnTo>
                    <a:pt x="8878" y="2095"/>
                  </a:lnTo>
                  <a:lnTo>
                    <a:pt x="8878" y="1694"/>
                  </a:lnTo>
                  <a:lnTo>
                    <a:pt x="8431" y="1694"/>
                  </a:lnTo>
                  <a:lnTo>
                    <a:pt x="8431" y="2095"/>
                  </a:lnTo>
                  <a:lnTo>
                    <a:pt x="8147" y="2095"/>
                  </a:lnTo>
                  <a:close/>
                  <a:moveTo>
                    <a:pt x="10127" y="2095"/>
                  </a:moveTo>
                  <a:lnTo>
                    <a:pt x="9840" y="1710"/>
                  </a:lnTo>
                  <a:lnTo>
                    <a:pt x="9709" y="1838"/>
                  </a:lnTo>
                  <a:lnTo>
                    <a:pt x="9709" y="2095"/>
                  </a:lnTo>
                  <a:lnTo>
                    <a:pt x="9426" y="2095"/>
                  </a:lnTo>
                  <a:lnTo>
                    <a:pt x="9426" y="1094"/>
                  </a:lnTo>
                  <a:lnTo>
                    <a:pt x="9709" y="1094"/>
                  </a:lnTo>
                  <a:lnTo>
                    <a:pt x="9709" y="1539"/>
                  </a:lnTo>
                  <a:lnTo>
                    <a:pt x="10120" y="1094"/>
                  </a:lnTo>
                  <a:lnTo>
                    <a:pt x="10469" y="1094"/>
                  </a:lnTo>
                  <a:lnTo>
                    <a:pt x="10041" y="1547"/>
                  </a:lnTo>
                  <a:lnTo>
                    <a:pt x="10482" y="2095"/>
                  </a:lnTo>
                  <a:lnTo>
                    <a:pt x="10127" y="2095"/>
                  </a:lnTo>
                  <a:close/>
                  <a:moveTo>
                    <a:pt x="14428" y="1078"/>
                  </a:moveTo>
                  <a:lnTo>
                    <a:pt x="13892" y="3416"/>
                  </a:lnTo>
                  <a:lnTo>
                    <a:pt x="12440" y="3416"/>
                  </a:lnTo>
                  <a:lnTo>
                    <a:pt x="12977" y="1078"/>
                  </a:lnTo>
                  <a:lnTo>
                    <a:pt x="12555" y="0"/>
                  </a:lnTo>
                  <a:lnTo>
                    <a:pt x="14006" y="0"/>
                  </a:lnTo>
                  <a:lnTo>
                    <a:pt x="14428" y="1078"/>
                  </a:lnTo>
                  <a:close/>
                  <a:moveTo>
                    <a:pt x="16100" y="1078"/>
                  </a:moveTo>
                  <a:lnTo>
                    <a:pt x="15798" y="2391"/>
                  </a:lnTo>
                  <a:lnTo>
                    <a:pt x="15564" y="3416"/>
                  </a:lnTo>
                  <a:lnTo>
                    <a:pt x="15564" y="3416"/>
                  </a:lnTo>
                  <a:lnTo>
                    <a:pt x="14112" y="3416"/>
                  </a:lnTo>
                  <a:lnTo>
                    <a:pt x="14648" y="1078"/>
                  </a:lnTo>
                  <a:lnTo>
                    <a:pt x="14226" y="0"/>
                  </a:lnTo>
                  <a:lnTo>
                    <a:pt x="14226" y="0"/>
                  </a:lnTo>
                  <a:lnTo>
                    <a:pt x="15678" y="0"/>
                  </a:lnTo>
                  <a:lnTo>
                    <a:pt x="16100" y="1078"/>
                  </a:lnTo>
                  <a:close/>
                  <a:moveTo>
                    <a:pt x="15518" y="3302"/>
                  </a:moveTo>
                  <a:lnTo>
                    <a:pt x="14693" y="1191"/>
                  </a:lnTo>
                  <a:lnTo>
                    <a:pt x="14198" y="3346"/>
                  </a:lnTo>
                  <a:lnTo>
                    <a:pt x="15508" y="3346"/>
                  </a:lnTo>
                  <a:lnTo>
                    <a:pt x="15518" y="3302"/>
                  </a:lnTo>
                  <a:close/>
                  <a:moveTo>
                    <a:pt x="13847" y="3302"/>
                  </a:moveTo>
                  <a:lnTo>
                    <a:pt x="13021" y="1191"/>
                  </a:lnTo>
                  <a:lnTo>
                    <a:pt x="12527" y="3346"/>
                  </a:lnTo>
                  <a:lnTo>
                    <a:pt x="13837" y="3346"/>
                  </a:lnTo>
                  <a:lnTo>
                    <a:pt x="13847" y="3302"/>
                  </a:lnTo>
                  <a:close/>
                  <a:moveTo>
                    <a:pt x="12756" y="1078"/>
                  </a:moveTo>
                  <a:lnTo>
                    <a:pt x="12522" y="2097"/>
                  </a:lnTo>
                  <a:lnTo>
                    <a:pt x="12220" y="3416"/>
                  </a:lnTo>
                  <a:lnTo>
                    <a:pt x="12219" y="3416"/>
                  </a:lnTo>
                  <a:lnTo>
                    <a:pt x="10768" y="3416"/>
                  </a:lnTo>
                  <a:lnTo>
                    <a:pt x="11304" y="1078"/>
                  </a:lnTo>
                  <a:lnTo>
                    <a:pt x="11304" y="1078"/>
                  </a:lnTo>
                  <a:lnTo>
                    <a:pt x="10883" y="0"/>
                  </a:lnTo>
                  <a:lnTo>
                    <a:pt x="10883" y="0"/>
                  </a:lnTo>
                  <a:lnTo>
                    <a:pt x="12334" y="0"/>
                  </a:lnTo>
                  <a:lnTo>
                    <a:pt x="12335" y="0"/>
                  </a:lnTo>
                  <a:lnTo>
                    <a:pt x="12593" y="661"/>
                  </a:lnTo>
                  <a:lnTo>
                    <a:pt x="12756" y="1078"/>
                  </a:lnTo>
                  <a:close/>
                  <a:moveTo>
                    <a:pt x="12175" y="3303"/>
                  </a:moveTo>
                  <a:lnTo>
                    <a:pt x="11348" y="1191"/>
                  </a:lnTo>
                  <a:lnTo>
                    <a:pt x="10854" y="3346"/>
                  </a:lnTo>
                  <a:lnTo>
                    <a:pt x="12165" y="3346"/>
                  </a:lnTo>
                  <a:lnTo>
                    <a:pt x="12175" y="33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3363" y="39402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746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0F8B74-3D21-4920-3B9A-5076A13FB9C1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A137906B-7719-7EB5-922D-45B3DFAA9249}"/>
              </a:ext>
            </a:extLst>
          </p:cNvPr>
          <p:cNvGrpSpPr/>
          <p:nvPr/>
        </p:nvGrpSpPr>
        <p:grpSpPr>
          <a:xfrm>
            <a:off x="289998" y="299044"/>
            <a:ext cx="1765558" cy="276999"/>
            <a:chOff x="9353064" y="5090482"/>
            <a:chExt cx="3312277" cy="276999"/>
          </a:xfrm>
        </p:grpSpPr>
        <p:sp>
          <p:nvSpPr>
            <p:cNvPr id="14" name="Скругленный прямоугольник 13">
              <a:extLst>
                <a:ext uri="{FF2B5EF4-FFF2-40B4-BE49-F238E27FC236}">
                  <a16:creationId xmlns:a16="http://schemas.microsoft.com/office/drawing/2014/main" id="{2B905115-7A7F-2A5F-C437-F4E481E7C093}"/>
                </a:ext>
              </a:extLst>
            </p:cNvPr>
            <p:cNvSpPr/>
            <p:nvPr/>
          </p:nvSpPr>
          <p:spPr>
            <a:xfrm>
              <a:off x="9353064" y="5103688"/>
              <a:ext cx="3312277" cy="248876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8187C437-EA2F-438D-5CD5-73DB6E34B31C}"/>
                </a:ext>
              </a:extLst>
            </p:cNvPr>
            <p:cNvSpPr/>
            <p:nvPr/>
          </p:nvSpPr>
          <p:spPr>
            <a:xfrm>
              <a:off x="10011299" y="5090482"/>
              <a:ext cx="199580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СП Банк</a:t>
              </a:r>
            </a:p>
          </p:txBody>
        </p:sp>
      </p:grpSp>
      <p:grpSp>
        <p:nvGrpSpPr>
          <p:cNvPr id="11" name="Group 235">
            <a:extLst>
              <a:ext uri="{FF2B5EF4-FFF2-40B4-BE49-F238E27FC236}">
                <a16:creationId xmlns:a16="http://schemas.microsoft.com/office/drawing/2014/main" id="{3DC670AA-54A4-AE68-D600-ADA8FD65CA60}"/>
              </a:ext>
            </a:extLst>
          </p:cNvPr>
          <p:cNvGrpSpPr/>
          <p:nvPr/>
        </p:nvGrpSpPr>
        <p:grpSpPr>
          <a:xfrm>
            <a:off x="4821532" y="674953"/>
            <a:ext cx="954952" cy="1038648"/>
            <a:chOff x="7339013" y="3619500"/>
            <a:chExt cx="706437" cy="768351"/>
          </a:xfrm>
          <a:solidFill>
            <a:srgbClr val="84E0F7"/>
          </a:solidFill>
        </p:grpSpPr>
        <p:sp>
          <p:nvSpPr>
            <p:cNvPr id="31" name="Freeform 197">
              <a:extLst>
                <a:ext uri="{FF2B5EF4-FFF2-40B4-BE49-F238E27FC236}">
                  <a16:creationId xmlns:a16="http://schemas.microsoft.com/office/drawing/2014/main" id="{E1D97668-C5EB-1C94-7426-55AC6AABA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250" y="4106863"/>
              <a:ext cx="25400" cy="50800"/>
            </a:xfrm>
            <a:custGeom>
              <a:avLst/>
              <a:gdLst>
                <a:gd name="T0" fmla="*/ 34 w 68"/>
                <a:gd name="T1" fmla="*/ 0 h 137"/>
                <a:gd name="T2" fmla="*/ 0 w 68"/>
                <a:gd name="T3" fmla="*/ 34 h 137"/>
                <a:gd name="T4" fmla="*/ 0 w 68"/>
                <a:gd name="T5" fmla="*/ 102 h 137"/>
                <a:gd name="T6" fmla="*/ 34 w 68"/>
                <a:gd name="T7" fmla="*/ 137 h 137"/>
                <a:gd name="T8" fmla="*/ 68 w 68"/>
                <a:gd name="T9" fmla="*/ 102 h 137"/>
                <a:gd name="T10" fmla="*/ 68 w 68"/>
                <a:gd name="T11" fmla="*/ 34 h 137"/>
                <a:gd name="T12" fmla="*/ 34 w 68"/>
                <a:gd name="T1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37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21"/>
                    <a:pt x="15" y="137"/>
                    <a:pt x="34" y="137"/>
                  </a:cubicBezTo>
                  <a:cubicBezTo>
                    <a:pt x="53" y="137"/>
                    <a:pt x="68" y="121"/>
                    <a:pt x="68" y="102"/>
                  </a:cubicBezTo>
                  <a:cubicBezTo>
                    <a:pt x="68" y="34"/>
                    <a:pt x="68" y="34"/>
                    <a:pt x="68" y="34"/>
                  </a:cubicBezTo>
                  <a:cubicBezTo>
                    <a:pt x="68" y="15"/>
                    <a:pt x="53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98">
              <a:extLst>
                <a:ext uri="{FF2B5EF4-FFF2-40B4-BE49-F238E27FC236}">
                  <a16:creationId xmlns:a16="http://schemas.microsoft.com/office/drawing/2014/main" id="{E8756EA5-E487-1B23-FBD7-6A174F9C74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04100" y="3619500"/>
              <a:ext cx="641350" cy="742950"/>
            </a:xfrm>
            <a:custGeom>
              <a:avLst/>
              <a:gdLst>
                <a:gd name="T0" fmla="*/ 1707 w 1707"/>
                <a:gd name="T1" fmla="*/ 171 h 1980"/>
                <a:gd name="T2" fmla="*/ 1536 w 1707"/>
                <a:gd name="T3" fmla="*/ 0 h 1980"/>
                <a:gd name="T4" fmla="*/ 171 w 1707"/>
                <a:gd name="T5" fmla="*/ 0 h 1980"/>
                <a:gd name="T6" fmla="*/ 0 w 1707"/>
                <a:gd name="T7" fmla="*/ 171 h 1980"/>
                <a:gd name="T8" fmla="*/ 0 w 1707"/>
                <a:gd name="T9" fmla="*/ 853 h 1980"/>
                <a:gd name="T10" fmla="*/ 34 w 1707"/>
                <a:gd name="T11" fmla="*/ 887 h 1980"/>
                <a:gd name="T12" fmla="*/ 68 w 1707"/>
                <a:gd name="T13" fmla="*/ 853 h 1980"/>
                <a:gd name="T14" fmla="*/ 68 w 1707"/>
                <a:gd name="T15" fmla="*/ 171 h 1980"/>
                <a:gd name="T16" fmla="*/ 171 w 1707"/>
                <a:gd name="T17" fmla="*/ 68 h 1980"/>
                <a:gd name="T18" fmla="*/ 1536 w 1707"/>
                <a:gd name="T19" fmla="*/ 68 h 1980"/>
                <a:gd name="T20" fmla="*/ 1638 w 1707"/>
                <a:gd name="T21" fmla="*/ 171 h 1980"/>
                <a:gd name="T22" fmla="*/ 1638 w 1707"/>
                <a:gd name="T23" fmla="*/ 1502 h 1980"/>
                <a:gd name="T24" fmla="*/ 1399 w 1707"/>
                <a:gd name="T25" fmla="*/ 1502 h 1980"/>
                <a:gd name="T26" fmla="*/ 1229 w 1707"/>
                <a:gd name="T27" fmla="*/ 1673 h 1980"/>
                <a:gd name="T28" fmla="*/ 1229 w 1707"/>
                <a:gd name="T29" fmla="*/ 1911 h 1980"/>
                <a:gd name="T30" fmla="*/ 1126 w 1707"/>
                <a:gd name="T31" fmla="*/ 1911 h 1980"/>
                <a:gd name="T32" fmla="*/ 1092 w 1707"/>
                <a:gd name="T33" fmla="*/ 1946 h 1980"/>
                <a:gd name="T34" fmla="*/ 1126 w 1707"/>
                <a:gd name="T35" fmla="*/ 1980 h 1980"/>
                <a:gd name="T36" fmla="*/ 1263 w 1707"/>
                <a:gd name="T37" fmla="*/ 1980 h 1980"/>
                <a:gd name="T38" fmla="*/ 1287 w 1707"/>
                <a:gd name="T39" fmla="*/ 1970 h 1980"/>
                <a:gd name="T40" fmla="*/ 1697 w 1707"/>
                <a:gd name="T41" fmla="*/ 1560 h 1980"/>
                <a:gd name="T42" fmla="*/ 1707 w 1707"/>
                <a:gd name="T43" fmla="*/ 1536 h 1980"/>
                <a:gd name="T44" fmla="*/ 1707 w 1707"/>
                <a:gd name="T45" fmla="*/ 171 h 1980"/>
                <a:gd name="T46" fmla="*/ 1399 w 1707"/>
                <a:gd name="T47" fmla="*/ 1570 h 1980"/>
                <a:gd name="T48" fmla="*/ 1590 w 1707"/>
                <a:gd name="T49" fmla="*/ 1570 h 1980"/>
                <a:gd name="T50" fmla="*/ 1297 w 1707"/>
                <a:gd name="T51" fmla="*/ 1863 h 1980"/>
                <a:gd name="T52" fmla="*/ 1297 w 1707"/>
                <a:gd name="T53" fmla="*/ 1673 h 1980"/>
                <a:gd name="T54" fmla="*/ 1399 w 1707"/>
                <a:gd name="T55" fmla="*/ 1570 h 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07" h="1980">
                  <a:moveTo>
                    <a:pt x="1707" y="171"/>
                  </a:moveTo>
                  <a:cubicBezTo>
                    <a:pt x="1707" y="76"/>
                    <a:pt x="1630" y="0"/>
                    <a:pt x="1536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76" y="0"/>
                    <a:pt x="0" y="76"/>
                    <a:pt x="0" y="171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72"/>
                    <a:pt x="15" y="887"/>
                    <a:pt x="34" y="887"/>
                  </a:cubicBezTo>
                  <a:cubicBezTo>
                    <a:pt x="53" y="887"/>
                    <a:pt x="68" y="872"/>
                    <a:pt x="68" y="853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14"/>
                    <a:pt x="114" y="68"/>
                    <a:pt x="171" y="68"/>
                  </a:cubicBezTo>
                  <a:cubicBezTo>
                    <a:pt x="1536" y="68"/>
                    <a:pt x="1536" y="68"/>
                    <a:pt x="1536" y="68"/>
                  </a:cubicBezTo>
                  <a:cubicBezTo>
                    <a:pt x="1593" y="68"/>
                    <a:pt x="1638" y="114"/>
                    <a:pt x="1638" y="171"/>
                  </a:cubicBezTo>
                  <a:cubicBezTo>
                    <a:pt x="1638" y="1502"/>
                    <a:pt x="1638" y="1502"/>
                    <a:pt x="1638" y="1502"/>
                  </a:cubicBezTo>
                  <a:cubicBezTo>
                    <a:pt x="1399" y="1502"/>
                    <a:pt x="1399" y="1502"/>
                    <a:pt x="1399" y="1502"/>
                  </a:cubicBezTo>
                  <a:cubicBezTo>
                    <a:pt x="1305" y="1502"/>
                    <a:pt x="1229" y="1578"/>
                    <a:pt x="1229" y="1673"/>
                  </a:cubicBezTo>
                  <a:cubicBezTo>
                    <a:pt x="1229" y="1911"/>
                    <a:pt x="1229" y="1911"/>
                    <a:pt x="1229" y="1911"/>
                  </a:cubicBezTo>
                  <a:cubicBezTo>
                    <a:pt x="1126" y="1911"/>
                    <a:pt x="1126" y="1911"/>
                    <a:pt x="1126" y="1911"/>
                  </a:cubicBezTo>
                  <a:cubicBezTo>
                    <a:pt x="1108" y="1911"/>
                    <a:pt x="1092" y="1927"/>
                    <a:pt x="1092" y="1946"/>
                  </a:cubicBezTo>
                  <a:cubicBezTo>
                    <a:pt x="1092" y="1964"/>
                    <a:pt x="1108" y="1980"/>
                    <a:pt x="1126" y="1980"/>
                  </a:cubicBezTo>
                  <a:cubicBezTo>
                    <a:pt x="1263" y="1980"/>
                    <a:pt x="1263" y="1980"/>
                    <a:pt x="1263" y="1980"/>
                  </a:cubicBezTo>
                  <a:cubicBezTo>
                    <a:pt x="1272" y="1980"/>
                    <a:pt x="1281" y="1976"/>
                    <a:pt x="1287" y="1970"/>
                  </a:cubicBezTo>
                  <a:cubicBezTo>
                    <a:pt x="1697" y="1560"/>
                    <a:pt x="1697" y="1560"/>
                    <a:pt x="1697" y="1560"/>
                  </a:cubicBezTo>
                  <a:cubicBezTo>
                    <a:pt x="1703" y="1554"/>
                    <a:pt x="1707" y="1545"/>
                    <a:pt x="1707" y="1536"/>
                  </a:cubicBezTo>
                  <a:lnTo>
                    <a:pt x="1707" y="171"/>
                  </a:lnTo>
                  <a:close/>
                  <a:moveTo>
                    <a:pt x="1399" y="1570"/>
                  </a:moveTo>
                  <a:cubicBezTo>
                    <a:pt x="1590" y="1570"/>
                    <a:pt x="1590" y="1570"/>
                    <a:pt x="1590" y="1570"/>
                  </a:cubicBezTo>
                  <a:cubicBezTo>
                    <a:pt x="1297" y="1863"/>
                    <a:pt x="1297" y="1863"/>
                    <a:pt x="1297" y="1863"/>
                  </a:cubicBezTo>
                  <a:cubicBezTo>
                    <a:pt x="1297" y="1673"/>
                    <a:pt x="1297" y="1673"/>
                    <a:pt x="1297" y="1673"/>
                  </a:cubicBezTo>
                  <a:cubicBezTo>
                    <a:pt x="1297" y="1616"/>
                    <a:pt x="1343" y="1570"/>
                    <a:pt x="1399" y="15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99">
              <a:extLst>
                <a:ext uri="{FF2B5EF4-FFF2-40B4-BE49-F238E27FC236}">
                  <a16:creationId xmlns:a16="http://schemas.microsoft.com/office/drawing/2014/main" id="{9A843789-A098-55CF-3180-5A8A288E0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0" y="3697288"/>
              <a:ext cx="52387" cy="25400"/>
            </a:xfrm>
            <a:custGeom>
              <a:avLst/>
              <a:gdLst>
                <a:gd name="T0" fmla="*/ 102 w 136"/>
                <a:gd name="T1" fmla="*/ 0 h 68"/>
                <a:gd name="T2" fmla="*/ 34 w 136"/>
                <a:gd name="T3" fmla="*/ 0 h 68"/>
                <a:gd name="T4" fmla="*/ 0 w 136"/>
                <a:gd name="T5" fmla="*/ 34 h 68"/>
                <a:gd name="T6" fmla="*/ 34 w 136"/>
                <a:gd name="T7" fmla="*/ 68 h 68"/>
                <a:gd name="T8" fmla="*/ 102 w 136"/>
                <a:gd name="T9" fmla="*/ 68 h 68"/>
                <a:gd name="T10" fmla="*/ 136 w 136"/>
                <a:gd name="T11" fmla="*/ 34 h 68"/>
                <a:gd name="T12" fmla="*/ 102 w 136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02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21" y="68"/>
                    <a:pt x="136" y="53"/>
                    <a:pt x="136" y="34"/>
                  </a:cubicBezTo>
                  <a:cubicBezTo>
                    <a:pt x="136" y="15"/>
                    <a:pt x="121" y="0"/>
                    <a:pt x="1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00">
              <a:extLst>
                <a:ext uri="{FF2B5EF4-FFF2-40B4-BE49-F238E27FC236}">
                  <a16:creationId xmlns:a16="http://schemas.microsoft.com/office/drawing/2014/main" id="{E20D5405-E9F9-3615-616C-4E0D43D0E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8" y="3697288"/>
              <a:ext cx="411162" cy="25400"/>
            </a:xfrm>
            <a:custGeom>
              <a:avLst/>
              <a:gdLst>
                <a:gd name="T0" fmla="*/ 1058 w 1092"/>
                <a:gd name="T1" fmla="*/ 0 h 68"/>
                <a:gd name="T2" fmla="*/ 34 w 1092"/>
                <a:gd name="T3" fmla="*/ 0 h 68"/>
                <a:gd name="T4" fmla="*/ 0 w 1092"/>
                <a:gd name="T5" fmla="*/ 34 h 68"/>
                <a:gd name="T6" fmla="*/ 34 w 1092"/>
                <a:gd name="T7" fmla="*/ 68 h 68"/>
                <a:gd name="T8" fmla="*/ 1058 w 1092"/>
                <a:gd name="T9" fmla="*/ 68 h 68"/>
                <a:gd name="T10" fmla="*/ 1092 w 1092"/>
                <a:gd name="T11" fmla="*/ 34 h 68"/>
                <a:gd name="T12" fmla="*/ 1058 w 1092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2" h="68">
                  <a:moveTo>
                    <a:pt x="1058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1058" y="68"/>
                    <a:pt x="1058" y="68"/>
                    <a:pt x="1058" y="68"/>
                  </a:cubicBezTo>
                  <a:cubicBezTo>
                    <a:pt x="1077" y="68"/>
                    <a:pt x="1092" y="53"/>
                    <a:pt x="1092" y="34"/>
                  </a:cubicBezTo>
                  <a:cubicBezTo>
                    <a:pt x="1092" y="15"/>
                    <a:pt x="1077" y="0"/>
                    <a:pt x="10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01">
              <a:extLst>
                <a:ext uri="{FF2B5EF4-FFF2-40B4-BE49-F238E27FC236}">
                  <a16:creationId xmlns:a16="http://schemas.microsoft.com/office/drawing/2014/main" id="{74A9A52F-EEAE-DF45-19DE-2427AC45E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0" y="3773488"/>
              <a:ext cx="52387" cy="25400"/>
            </a:xfrm>
            <a:custGeom>
              <a:avLst/>
              <a:gdLst>
                <a:gd name="T0" fmla="*/ 102 w 136"/>
                <a:gd name="T1" fmla="*/ 0 h 68"/>
                <a:gd name="T2" fmla="*/ 34 w 136"/>
                <a:gd name="T3" fmla="*/ 0 h 68"/>
                <a:gd name="T4" fmla="*/ 0 w 136"/>
                <a:gd name="T5" fmla="*/ 34 h 68"/>
                <a:gd name="T6" fmla="*/ 34 w 136"/>
                <a:gd name="T7" fmla="*/ 68 h 68"/>
                <a:gd name="T8" fmla="*/ 102 w 136"/>
                <a:gd name="T9" fmla="*/ 68 h 68"/>
                <a:gd name="T10" fmla="*/ 136 w 136"/>
                <a:gd name="T11" fmla="*/ 34 h 68"/>
                <a:gd name="T12" fmla="*/ 102 w 136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02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21" y="68"/>
                    <a:pt x="136" y="53"/>
                    <a:pt x="136" y="34"/>
                  </a:cubicBezTo>
                  <a:cubicBezTo>
                    <a:pt x="136" y="15"/>
                    <a:pt x="121" y="0"/>
                    <a:pt x="1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02">
              <a:extLst>
                <a:ext uri="{FF2B5EF4-FFF2-40B4-BE49-F238E27FC236}">
                  <a16:creationId xmlns:a16="http://schemas.microsoft.com/office/drawing/2014/main" id="{F8977530-A491-57F8-1B56-57F831BA8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8" y="3773488"/>
              <a:ext cx="320675" cy="25400"/>
            </a:xfrm>
            <a:custGeom>
              <a:avLst/>
              <a:gdLst>
                <a:gd name="T0" fmla="*/ 34 w 853"/>
                <a:gd name="T1" fmla="*/ 68 h 68"/>
                <a:gd name="T2" fmla="*/ 819 w 853"/>
                <a:gd name="T3" fmla="*/ 68 h 68"/>
                <a:gd name="T4" fmla="*/ 853 w 853"/>
                <a:gd name="T5" fmla="*/ 34 h 68"/>
                <a:gd name="T6" fmla="*/ 819 w 853"/>
                <a:gd name="T7" fmla="*/ 0 h 68"/>
                <a:gd name="T8" fmla="*/ 34 w 853"/>
                <a:gd name="T9" fmla="*/ 0 h 68"/>
                <a:gd name="T10" fmla="*/ 0 w 853"/>
                <a:gd name="T11" fmla="*/ 34 h 68"/>
                <a:gd name="T12" fmla="*/ 34 w 853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68">
                  <a:moveTo>
                    <a:pt x="34" y="68"/>
                  </a:moveTo>
                  <a:cubicBezTo>
                    <a:pt x="819" y="68"/>
                    <a:pt x="819" y="68"/>
                    <a:pt x="819" y="68"/>
                  </a:cubicBezTo>
                  <a:cubicBezTo>
                    <a:pt x="838" y="68"/>
                    <a:pt x="853" y="53"/>
                    <a:pt x="853" y="34"/>
                  </a:cubicBezTo>
                  <a:cubicBezTo>
                    <a:pt x="853" y="15"/>
                    <a:pt x="838" y="0"/>
                    <a:pt x="81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03">
              <a:extLst>
                <a:ext uri="{FF2B5EF4-FFF2-40B4-BE49-F238E27FC236}">
                  <a16:creationId xmlns:a16="http://schemas.microsoft.com/office/drawing/2014/main" id="{A1918738-5BA4-41B4-9ADB-B6FCBA7B2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0300" y="3849688"/>
              <a:ext cx="52387" cy="26988"/>
            </a:xfrm>
            <a:custGeom>
              <a:avLst/>
              <a:gdLst>
                <a:gd name="T0" fmla="*/ 102 w 136"/>
                <a:gd name="T1" fmla="*/ 0 h 69"/>
                <a:gd name="T2" fmla="*/ 34 w 136"/>
                <a:gd name="T3" fmla="*/ 0 h 69"/>
                <a:gd name="T4" fmla="*/ 0 w 136"/>
                <a:gd name="T5" fmla="*/ 35 h 69"/>
                <a:gd name="T6" fmla="*/ 34 w 136"/>
                <a:gd name="T7" fmla="*/ 69 h 69"/>
                <a:gd name="T8" fmla="*/ 102 w 136"/>
                <a:gd name="T9" fmla="*/ 69 h 69"/>
                <a:gd name="T10" fmla="*/ 136 w 136"/>
                <a:gd name="T11" fmla="*/ 35 h 69"/>
                <a:gd name="T12" fmla="*/ 102 w 136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9">
                  <a:moveTo>
                    <a:pt x="102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3"/>
                    <a:pt x="15" y="69"/>
                    <a:pt x="34" y="69"/>
                  </a:cubicBezTo>
                  <a:cubicBezTo>
                    <a:pt x="102" y="69"/>
                    <a:pt x="102" y="69"/>
                    <a:pt x="102" y="69"/>
                  </a:cubicBezTo>
                  <a:cubicBezTo>
                    <a:pt x="121" y="69"/>
                    <a:pt x="136" y="53"/>
                    <a:pt x="136" y="35"/>
                  </a:cubicBezTo>
                  <a:cubicBezTo>
                    <a:pt x="136" y="16"/>
                    <a:pt x="121" y="0"/>
                    <a:pt x="1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4">
              <a:extLst>
                <a:ext uri="{FF2B5EF4-FFF2-40B4-BE49-F238E27FC236}">
                  <a16:creationId xmlns:a16="http://schemas.microsoft.com/office/drawing/2014/main" id="{6A0B8B14-40C9-48E1-0979-2C203C6E5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8" y="3849688"/>
              <a:ext cx="230187" cy="26988"/>
            </a:xfrm>
            <a:custGeom>
              <a:avLst/>
              <a:gdLst>
                <a:gd name="T0" fmla="*/ 34 w 614"/>
                <a:gd name="T1" fmla="*/ 69 h 69"/>
                <a:gd name="T2" fmla="*/ 580 w 614"/>
                <a:gd name="T3" fmla="*/ 69 h 69"/>
                <a:gd name="T4" fmla="*/ 614 w 614"/>
                <a:gd name="T5" fmla="*/ 35 h 69"/>
                <a:gd name="T6" fmla="*/ 580 w 614"/>
                <a:gd name="T7" fmla="*/ 0 h 69"/>
                <a:gd name="T8" fmla="*/ 34 w 614"/>
                <a:gd name="T9" fmla="*/ 0 h 69"/>
                <a:gd name="T10" fmla="*/ 0 w 614"/>
                <a:gd name="T11" fmla="*/ 35 h 69"/>
                <a:gd name="T12" fmla="*/ 34 w 614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4" h="69">
                  <a:moveTo>
                    <a:pt x="34" y="69"/>
                  </a:moveTo>
                  <a:cubicBezTo>
                    <a:pt x="580" y="69"/>
                    <a:pt x="580" y="69"/>
                    <a:pt x="580" y="69"/>
                  </a:cubicBezTo>
                  <a:cubicBezTo>
                    <a:pt x="599" y="69"/>
                    <a:pt x="614" y="53"/>
                    <a:pt x="614" y="35"/>
                  </a:cubicBezTo>
                  <a:cubicBezTo>
                    <a:pt x="614" y="16"/>
                    <a:pt x="599" y="0"/>
                    <a:pt x="5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3"/>
                    <a:pt x="15" y="69"/>
                    <a:pt x="34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05">
              <a:extLst>
                <a:ext uri="{FF2B5EF4-FFF2-40B4-BE49-F238E27FC236}">
                  <a16:creationId xmlns:a16="http://schemas.microsoft.com/office/drawing/2014/main" id="{709AF809-4666-724C-498D-3BC00E793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250" y="3876675"/>
              <a:ext cx="25400" cy="204788"/>
            </a:xfrm>
            <a:custGeom>
              <a:avLst/>
              <a:gdLst>
                <a:gd name="T0" fmla="*/ 68 w 68"/>
                <a:gd name="T1" fmla="*/ 34 h 546"/>
                <a:gd name="T2" fmla="*/ 34 w 68"/>
                <a:gd name="T3" fmla="*/ 0 h 546"/>
                <a:gd name="T4" fmla="*/ 0 w 68"/>
                <a:gd name="T5" fmla="*/ 34 h 546"/>
                <a:gd name="T6" fmla="*/ 0 w 68"/>
                <a:gd name="T7" fmla="*/ 512 h 546"/>
                <a:gd name="T8" fmla="*/ 34 w 68"/>
                <a:gd name="T9" fmla="*/ 546 h 546"/>
                <a:gd name="T10" fmla="*/ 68 w 68"/>
                <a:gd name="T11" fmla="*/ 512 h 546"/>
                <a:gd name="T12" fmla="*/ 68 w 68"/>
                <a:gd name="T13" fmla="*/ 34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546">
                  <a:moveTo>
                    <a:pt x="68" y="34"/>
                  </a:moveTo>
                  <a:cubicBezTo>
                    <a:pt x="68" y="15"/>
                    <a:pt x="53" y="0"/>
                    <a:pt x="34" y="0"/>
                  </a:cubicBezTo>
                  <a:cubicBezTo>
                    <a:pt x="15" y="0"/>
                    <a:pt x="0" y="15"/>
                    <a:pt x="0" y="34"/>
                  </a:cubicBezTo>
                  <a:cubicBezTo>
                    <a:pt x="0" y="512"/>
                    <a:pt x="0" y="512"/>
                    <a:pt x="0" y="512"/>
                  </a:cubicBezTo>
                  <a:cubicBezTo>
                    <a:pt x="0" y="531"/>
                    <a:pt x="15" y="546"/>
                    <a:pt x="34" y="546"/>
                  </a:cubicBezTo>
                  <a:cubicBezTo>
                    <a:pt x="53" y="546"/>
                    <a:pt x="68" y="531"/>
                    <a:pt x="68" y="512"/>
                  </a:cubicBezTo>
                  <a:lnTo>
                    <a:pt x="6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06">
              <a:extLst>
                <a:ext uri="{FF2B5EF4-FFF2-40B4-BE49-F238E27FC236}">
                  <a16:creationId xmlns:a16="http://schemas.microsoft.com/office/drawing/2014/main" id="{1A14C537-2BD2-1C99-6714-D5FF49E2A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013" y="3952875"/>
              <a:ext cx="449262" cy="153988"/>
            </a:xfrm>
            <a:custGeom>
              <a:avLst/>
              <a:gdLst>
                <a:gd name="T0" fmla="*/ 0 w 1195"/>
                <a:gd name="T1" fmla="*/ 205 h 410"/>
                <a:gd name="T2" fmla="*/ 103 w 1195"/>
                <a:gd name="T3" fmla="*/ 308 h 410"/>
                <a:gd name="T4" fmla="*/ 642 w 1195"/>
                <a:gd name="T5" fmla="*/ 308 h 410"/>
                <a:gd name="T6" fmla="*/ 820 w 1195"/>
                <a:gd name="T7" fmla="*/ 410 h 410"/>
                <a:gd name="T8" fmla="*/ 997 w 1195"/>
                <a:gd name="T9" fmla="*/ 308 h 410"/>
                <a:gd name="T10" fmla="*/ 1093 w 1195"/>
                <a:gd name="T11" fmla="*/ 308 h 410"/>
                <a:gd name="T12" fmla="*/ 1195 w 1195"/>
                <a:gd name="T13" fmla="*/ 205 h 410"/>
                <a:gd name="T14" fmla="*/ 1093 w 1195"/>
                <a:gd name="T15" fmla="*/ 103 h 410"/>
                <a:gd name="T16" fmla="*/ 997 w 1195"/>
                <a:gd name="T17" fmla="*/ 103 h 410"/>
                <a:gd name="T18" fmla="*/ 820 w 1195"/>
                <a:gd name="T19" fmla="*/ 0 h 410"/>
                <a:gd name="T20" fmla="*/ 642 w 1195"/>
                <a:gd name="T21" fmla="*/ 103 h 410"/>
                <a:gd name="T22" fmla="*/ 103 w 1195"/>
                <a:gd name="T23" fmla="*/ 103 h 410"/>
                <a:gd name="T24" fmla="*/ 0 w 1195"/>
                <a:gd name="T25" fmla="*/ 205 h 410"/>
                <a:gd name="T26" fmla="*/ 1093 w 1195"/>
                <a:gd name="T27" fmla="*/ 171 h 410"/>
                <a:gd name="T28" fmla="*/ 1127 w 1195"/>
                <a:gd name="T29" fmla="*/ 205 h 410"/>
                <a:gd name="T30" fmla="*/ 1093 w 1195"/>
                <a:gd name="T31" fmla="*/ 239 h 410"/>
                <a:gd name="T32" fmla="*/ 1021 w 1195"/>
                <a:gd name="T33" fmla="*/ 239 h 410"/>
                <a:gd name="T34" fmla="*/ 1021 w 1195"/>
                <a:gd name="T35" fmla="*/ 171 h 410"/>
                <a:gd name="T36" fmla="*/ 1093 w 1195"/>
                <a:gd name="T37" fmla="*/ 171 h 410"/>
                <a:gd name="T38" fmla="*/ 820 w 1195"/>
                <a:gd name="T39" fmla="*/ 69 h 410"/>
                <a:gd name="T40" fmla="*/ 956 w 1195"/>
                <a:gd name="T41" fmla="*/ 205 h 410"/>
                <a:gd name="T42" fmla="*/ 820 w 1195"/>
                <a:gd name="T43" fmla="*/ 342 h 410"/>
                <a:gd name="T44" fmla="*/ 683 w 1195"/>
                <a:gd name="T45" fmla="*/ 205 h 410"/>
                <a:gd name="T46" fmla="*/ 820 w 1195"/>
                <a:gd name="T47" fmla="*/ 69 h 410"/>
                <a:gd name="T48" fmla="*/ 618 w 1195"/>
                <a:gd name="T49" fmla="*/ 239 h 410"/>
                <a:gd name="T50" fmla="*/ 103 w 1195"/>
                <a:gd name="T51" fmla="*/ 239 h 410"/>
                <a:gd name="T52" fmla="*/ 69 w 1195"/>
                <a:gd name="T53" fmla="*/ 205 h 410"/>
                <a:gd name="T54" fmla="*/ 103 w 1195"/>
                <a:gd name="T55" fmla="*/ 171 h 410"/>
                <a:gd name="T56" fmla="*/ 618 w 1195"/>
                <a:gd name="T57" fmla="*/ 171 h 410"/>
                <a:gd name="T58" fmla="*/ 618 w 1195"/>
                <a:gd name="T59" fmla="*/ 239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95" h="410">
                  <a:moveTo>
                    <a:pt x="0" y="205"/>
                  </a:moveTo>
                  <a:cubicBezTo>
                    <a:pt x="0" y="262"/>
                    <a:pt x="46" y="308"/>
                    <a:pt x="103" y="308"/>
                  </a:cubicBezTo>
                  <a:cubicBezTo>
                    <a:pt x="642" y="308"/>
                    <a:pt x="642" y="308"/>
                    <a:pt x="642" y="308"/>
                  </a:cubicBezTo>
                  <a:cubicBezTo>
                    <a:pt x="679" y="371"/>
                    <a:pt x="746" y="410"/>
                    <a:pt x="820" y="410"/>
                  </a:cubicBezTo>
                  <a:cubicBezTo>
                    <a:pt x="893" y="410"/>
                    <a:pt x="960" y="371"/>
                    <a:pt x="997" y="308"/>
                  </a:cubicBezTo>
                  <a:cubicBezTo>
                    <a:pt x="1093" y="308"/>
                    <a:pt x="1093" y="308"/>
                    <a:pt x="1093" y="308"/>
                  </a:cubicBezTo>
                  <a:cubicBezTo>
                    <a:pt x="1149" y="308"/>
                    <a:pt x="1195" y="262"/>
                    <a:pt x="1195" y="205"/>
                  </a:cubicBezTo>
                  <a:cubicBezTo>
                    <a:pt x="1195" y="149"/>
                    <a:pt x="1149" y="103"/>
                    <a:pt x="1093" y="103"/>
                  </a:cubicBezTo>
                  <a:cubicBezTo>
                    <a:pt x="997" y="103"/>
                    <a:pt x="997" y="103"/>
                    <a:pt x="997" y="103"/>
                  </a:cubicBezTo>
                  <a:cubicBezTo>
                    <a:pt x="960" y="40"/>
                    <a:pt x="893" y="0"/>
                    <a:pt x="820" y="0"/>
                  </a:cubicBezTo>
                  <a:cubicBezTo>
                    <a:pt x="746" y="0"/>
                    <a:pt x="679" y="40"/>
                    <a:pt x="642" y="103"/>
                  </a:cubicBezTo>
                  <a:cubicBezTo>
                    <a:pt x="103" y="103"/>
                    <a:pt x="103" y="103"/>
                    <a:pt x="103" y="103"/>
                  </a:cubicBezTo>
                  <a:cubicBezTo>
                    <a:pt x="46" y="103"/>
                    <a:pt x="0" y="149"/>
                    <a:pt x="0" y="205"/>
                  </a:cubicBezTo>
                  <a:close/>
                  <a:moveTo>
                    <a:pt x="1093" y="171"/>
                  </a:moveTo>
                  <a:cubicBezTo>
                    <a:pt x="1111" y="171"/>
                    <a:pt x="1127" y="186"/>
                    <a:pt x="1127" y="205"/>
                  </a:cubicBezTo>
                  <a:cubicBezTo>
                    <a:pt x="1127" y="224"/>
                    <a:pt x="1111" y="239"/>
                    <a:pt x="1093" y="239"/>
                  </a:cubicBezTo>
                  <a:cubicBezTo>
                    <a:pt x="1021" y="239"/>
                    <a:pt x="1021" y="239"/>
                    <a:pt x="1021" y="239"/>
                  </a:cubicBezTo>
                  <a:cubicBezTo>
                    <a:pt x="1025" y="217"/>
                    <a:pt x="1025" y="194"/>
                    <a:pt x="1021" y="171"/>
                  </a:cubicBezTo>
                  <a:lnTo>
                    <a:pt x="1093" y="171"/>
                  </a:lnTo>
                  <a:close/>
                  <a:moveTo>
                    <a:pt x="820" y="69"/>
                  </a:moveTo>
                  <a:cubicBezTo>
                    <a:pt x="895" y="69"/>
                    <a:pt x="956" y="130"/>
                    <a:pt x="956" y="205"/>
                  </a:cubicBezTo>
                  <a:cubicBezTo>
                    <a:pt x="956" y="281"/>
                    <a:pt x="895" y="342"/>
                    <a:pt x="820" y="342"/>
                  </a:cubicBezTo>
                  <a:cubicBezTo>
                    <a:pt x="744" y="342"/>
                    <a:pt x="683" y="281"/>
                    <a:pt x="683" y="205"/>
                  </a:cubicBezTo>
                  <a:cubicBezTo>
                    <a:pt x="683" y="130"/>
                    <a:pt x="744" y="69"/>
                    <a:pt x="820" y="69"/>
                  </a:cubicBezTo>
                  <a:close/>
                  <a:moveTo>
                    <a:pt x="618" y="239"/>
                  </a:moveTo>
                  <a:cubicBezTo>
                    <a:pt x="103" y="239"/>
                    <a:pt x="103" y="239"/>
                    <a:pt x="103" y="239"/>
                  </a:cubicBezTo>
                  <a:cubicBezTo>
                    <a:pt x="84" y="239"/>
                    <a:pt x="69" y="224"/>
                    <a:pt x="69" y="205"/>
                  </a:cubicBezTo>
                  <a:cubicBezTo>
                    <a:pt x="69" y="186"/>
                    <a:pt x="84" y="171"/>
                    <a:pt x="103" y="171"/>
                  </a:cubicBezTo>
                  <a:cubicBezTo>
                    <a:pt x="618" y="171"/>
                    <a:pt x="618" y="171"/>
                    <a:pt x="618" y="171"/>
                  </a:cubicBezTo>
                  <a:cubicBezTo>
                    <a:pt x="614" y="194"/>
                    <a:pt x="614" y="217"/>
                    <a:pt x="618" y="2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07">
              <a:extLst>
                <a:ext uri="{FF2B5EF4-FFF2-40B4-BE49-F238E27FC236}">
                  <a16:creationId xmlns:a16="http://schemas.microsoft.com/office/drawing/2014/main" id="{AD18701D-15CD-B23E-2D95-6225E67F38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013" y="4233863"/>
              <a:ext cx="449262" cy="153988"/>
            </a:xfrm>
            <a:custGeom>
              <a:avLst/>
              <a:gdLst>
                <a:gd name="T0" fmla="*/ 103 w 1195"/>
                <a:gd name="T1" fmla="*/ 308 h 410"/>
                <a:gd name="T2" fmla="*/ 642 w 1195"/>
                <a:gd name="T3" fmla="*/ 308 h 410"/>
                <a:gd name="T4" fmla="*/ 820 w 1195"/>
                <a:gd name="T5" fmla="*/ 410 h 410"/>
                <a:gd name="T6" fmla="*/ 997 w 1195"/>
                <a:gd name="T7" fmla="*/ 308 h 410"/>
                <a:gd name="T8" fmla="*/ 1093 w 1195"/>
                <a:gd name="T9" fmla="*/ 308 h 410"/>
                <a:gd name="T10" fmla="*/ 1195 w 1195"/>
                <a:gd name="T11" fmla="*/ 205 h 410"/>
                <a:gd name="T12" fmla="*/ 1093 w 1195"/>
                <a:gd name="T13" fmla="*/ 103 h 410"/>
                <a:gd name="T14" fmla="*/ 997 w 1195"/>
                <a:gd name="T15" fmla="*/ 103 h 410"/>
                <a:gd name="T16" fmla="*/ 820 w 1195"/>
                <a:gd name="T17" fmla="*/ 0 h 410"/>
                <a:gd name="T18" fmla="*/ 642 w 1195"/>
                <a:gd name="T19" fmla="*/ 103 h 410"/>
                <a:gd name="T20" fmla="*/ 103 w 1195"/>
                <a:gd name="T21" fmla="*/ 103 h 410"/>
                <a:gd name="T22" fmla="*/ 0 w 1195"/>
                <a:gd name="T23" fmla="*/ 205 h 410"/>
                <a:gd name="T24" fmla="*/ 103 w 1195"/>
                <a:gd name="T25" fmla="*/ 308 h 410"/>
                <a:gd name="T26" fmla="*/ 1093 w 1195"/>
                <a:gd name="T27" fmla="*/ 171 h 410"/>
                <a:gd name="T28" fmla="*/ 1127 w 1195"/>
                <a:gd name="T29" fmla="*/ 205 h 410"/>
                <a:gd name="T30" fmla="*/ 1093 w 1195"/>
                <a:gd name="T31" fmla="*/ 239 h 410"/>
                <a:gd name="T32" fmla="*/ 1021 w 1195"/>
                <a:gd name="T33" fmla="*/ 239 h 410"/>
                <a:gd name="T34" fmla="*/ 1021 w 1195"/>
                <a:gd name="T35" fmla="*/ 171 h 410"/>
                <a:gd name="T36" fmla="*/ 1093 w 1195"/>
                <a:gd name="T37" fmla="*/ 171 h 410"/>
                <a:gd name="T38" fmla="*/ 820 w 1195"/>
                <a:gd name="T39" fmla="*/ 69 h 410"/>
                <a:gd name="T40" fmla="*/ 956 w 1195"/>
                <a:gd name="T41" fmla="*/ 205 h 410"/>
                <a:gd name="T42" fmla="*/ 820 w 1195"/>
                <a:gd name="T43" fmla="*/ 342 h 410"/>
                <a:gd name="T44" fmla="*/ 683 w 1195"/>
                <a:gd name="T45" fmla="*/ 205 h 410"/>
                <a:gd name="T46" fmla="*/ 820 w 1195"/>
                <a:gd name="T47" fmla="*/ 69 h 410"/>
                <a:gd name="T48" fmla="*/ 103 w 1195"/>
                <a:gd name="T49" fmla="*/ 171 h 410"/>
                <a:gd name="T50" fmla="*/ 618 w 1195"/>
                <a:gd name="T51" fmla="*/ 171 h 410"/>
                <a:gd name="T52" fmla="*/ 618 w 1195"/>
                <a:gd name="T53" fmla="*/ 239 h 410"/>
                <a:gd name="T54" fmla="*/ 103 w 1195"/>
                <a:gd name="T55" fmla="*/ 239 h 410"/>
                <a:gd name="T56" fmla="*/ 69 w 1195"/>
                <a:gd name="T57" fmla="*/ 205 h 410"/>
                <a:gd name="T58" fmla="*/ 103 w 1195"/>
                <a:gd name="T59" fmla="*/ 171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95" h="410">
                  <a:moveTo>
                    <a:pt x="103" y="308"/>
                  </a:moveTo>
                  <a:cubicBezTo>
                    <a:pt x="642" y="308"/>
                    <a:pt x="642" y="308"/>
                    <a:pt x="642" y="308"/>
                  </a:cubicBezTo>
                  <a:cubicBezTo>
                    <a:pt x="679" y="371"/>
                    <a:pt x="746" y="410"/>
                    <a:pt x="820" y="410"/>
                  </a:cubicBezTo>
                  <a:cubicBezTo>
                    <a:pt x="893" y="410"/>
                    <a:pt x="960" y="371"/>
                    <a:pt x="997" y="308"/>
                  </a:cubicBezTo>
                  <a:cubicBezTo>
                    <a:pt x="1093" y="308"/>
                    <a:pt x="1093" y="308"/>
                    <a:pt x="1093" y="308"/>
                  </a:cubicBezTo>
                  <a:cubicBezTo>
                    <a:pt x="1149" y="308"/>
                    <a:pt x="1195" y="262"/>
                    <a:pt x="1195" y="205"/>
                  </a:cubicBezTo>
                  <a:cubicBezTo>
                    <a:pt x="1195" y="149"/>
                    <a:pt x="1149" y="103"/>
                    <a:pt x="1093" y="103"/>
                  </a:cubicBezTo>
                  <a:cubicBezTo>
                    <a:pt x="997" y="103"/>
                    <a:pt x="997" y="103"/>
                    <a:pt x="997" y="103"/>
                  </a:cubicBezTo>
                  <a:cubicBezTo>
                    <a:pt x="960" y="39"/>
                    <a:pt x="893" y="0"/>
                    <a:pt x="820" y="0"/>
                  </a:cubicBezTo>
                  <a:cubicBezTo>
                    <a:pt x="746" y="0"/>
                    <a:pt x="679" y="39"/>
                    <a:pt x="642" y="103"/>
                  </a:cubicBezTo>
                  <a:cubicBezTo>
                    <a:pt x="103" y="103"/>
                    <a:pt x="103" y="103"/>
                    <a:pt x="103" y="103"/>
                  </a:cubicBezTo>
                  <a:cubicBezTo>
                    <a:pt x="46" y="103"/>
                    <a:pt x="0" y="149"/>
                    <a:pt x="0" y="205"/>
                  </a:cubicBezTo>
                  <a:cubicBezTo>
                    <a:pt x="0" y="262"/>
                    <a:pt x="46" y="308"/>
                    <a:pt x="103" y="308"/>
                  </a:cubicBezTo>
                  <a:close/>
                  <a:moveTo>
                    <a:pt x="1093" y="171"/>
                  </a:moveTo>
                  <a:cubicBezTo>
                    <a:pt x="1111" y="171"/>
                    <a:pt x="1127" y="186"/>
                    <a:pt x="1127" y="205"/>
                  </a:cubicBezTo>
                  <a:cubicBezTo>
                    <a:pt x="1127" y="224"/>
                    <a:pt x="1111" y="239"/>
                    <a:pt x="1093" y="239"/>
                  </a:cubicBezTo>
                  <a:cubicBezTo>
                    <a:pt x="1021" y="239"/>
                    <a:pt x="1021" y="239"/>
                    <a:pt x="1021" y="239"/>
                  </a:cubicBezTo>
                  <a:cubicBezTo>
                    <a:pt x="1025" y="217"/>
                    <a:pt x="1025" y="194"/>
                    <a:pt x="1021" y="171"/>
                  </a:cubicBezTo>
                  <a:lnTo>
                    <a:pt x="1093" y="171"/>
                  </a:lnTo>
                  <a:close/>
                  <a:moveTo>
                    <a:pt x="820" y="69"/>
                  </a:moveTo>
                  <a:cubicBezTo>
                    <a:pt x="895" y="69"/>
                    <a:pt x="956" y="130"/>
                    <a:pt x="956" y="205"/>
                  </a:cubicBezTo>
                  <a:cubicBezTo>
                    <a:pt x="956" y="281"/>
                    <a:pt x="895" y="342"/>
                    <a:pt x="820" y="342"/>
                  </a:cubicBezTo>
                  <a:cubicBezTo>
                    <a:pt x="744" y="342"/>
                    <a:pt x="683" y="281"/>
                    <a:pt x="683" y="205"/>
                  </a:cubicBezTo>
                  <a:cubicBezTo>
                    <a:pt x="683" y="130"/>
                    <a:pt x="744" y="69"/>
                    <a:pt x="820" y="69"/>
                  </a:cubicBezTo>
                  <a:close/>
                  <a:moveTo>
                    <a:pt x="103" y="171"/>
                  </a:moveTo>
                  <a:cubicBezTo>
                    <a:pt x="618" y="171"/>
                    <a:pt x="618" y="171"/>
                    <a:pt x="618" y="171"/>
                  </a:cubicBezTo>
                  <a:cubicBezTo>
                    <a:pt x="614" y="194"/>
                    <a:pt x="614" y="217"/>
                    <a:pt x="618" y="239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84" y="239"/>
                    <a:pt x="69" y="224"/>
                    <a:pt x="69" y="205"/>
                  </a:cubicBezTo>
                  <a:cubicBezTo>
                    <a:pt x="69" y="186"/>
                    <a:pt x="84" y="171"/>
                    <a:pt x="103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08">
              <a:extLst>
                <a:ext uri="{FF2B5EF4-FFF2-40B4-BE49-F238E27FC236}">
                  <a16:creationId xmlns:a16="http://schemas.microsoft.com/office/drawing/2014/main" id="{AED7CEC4-737C-1775-7EDF-573F011E5D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9013" y="4094163"/>
              <a:ext cx="449262" cy="152400"/>
            </a:xfrm>
            <a:custGeom>
              <a:avLst/>
              <a:gdLst>
                <a:gd name="T0" fmla="*/ 103 w 1195"/>
                <a:gd name="T1" fmla="*/ 307 h 410"/>
                <a:gd name="T2" fmla="*/ 301 w 1195"/>
                <a:gd name="T3" fmla="*/ 307 h 410"/>
                <a:gd name="T4" fmla="*/ 478 w 1195"/>
                <a:gd name="T5" fmla="*/ 410 h 410"/>
                <a:gd name="T6" fmla="*/ 655 w 1195"/>
                <a:gd name="T7" fmla="*/ 307 h 410"/>
                <a:gd name="T8" fmla="*/ 1093 w 1195"/>
                <a:gd name="T9" fmla="*/ 307 h 410"/>
                <a:gd name="T10" fmla="*/ 1195 w 1195"/>
                <a:gd name="T11" fmla="*/ 205 h 410"/>
                <a:gd name="T12" fmla="*/ 1093 w 1195"/>
                <a:gd name="T13" fmla="*/ 102 h 410"/>
                <a:gd name="T14" fmla="*/ 655 w 1195"/>
                <a:gd name="T15" fmla="*/ 102 h 410"/>
                <a:gd name="T16" fmla="*/ 478 w 1195"/>
                <a:gd name="T17" fmla="*/ 0 h 410"/>
                <a:gd name="T18" fmla="*/ 301 w 1195"/>
                <a:gd name="T19" fmla="*/ 102 h 410"/>
                <a:gd name="T20" fmla="*/ 103 w 1195"/>
                <a:gd name="T21" fmla="*/ 102 h 410"/>
                <a:gd name="T22" fmla="*/ 0 w 1195"/>
                <a:gd name="T23" fmla="*/ 205 h 410"/>
                <a:gd name="T24" fmla="*/ 103 w 1195"/>
                <a:gd name="T25" fmla="*/ 307 h 410"/>
                <a:gd name="T26" fmla="*/ 1093 w 1195"/>
                <a:gd name="T27" fmla="*/ 171 h 410"/>
                <a:gd name="T28" fmla="*/ 1127 w 1195"/>
                <a:gd name="T29" fmla="*/ 205 h 410"/>
                <a:gd name="T30" fmla="*/ 1093 w 1195"/>
                <a:gd name="T31" fmla="*/ 239 h 410"/>
                <a:gd name="T32" fmla="*/ 680 w 1195"/>
                <a:gd name="T33" fmla="*/ 239 h 410"/>
                <a:gd name="T34" fmla="*/ 680 w 1195"/>
                <a:gd name="T35" fmla="*/ 171 h 410"/>
                <a:gd name="T36" fmla="*/ 1093 w 1195"/>
                <a:gd name="T37" fmla="*/ 171 h 410"/>
                <a:gd name="T38" fmla="*/ 478 w 1195"/>
                <a:gd name="T39" fmla="*/ 68 h 410"/>
                <a:gd name="T40" fmla="*/ 615 w 1195"/>
                <a:gd name="T41" fmla="*/ 205 h 410"/>
                <a:gd name="T42" fmla="*/ 478 w 1195"/>
                <a:gd name="T43" fmla="*/ 341 h 410"/>
                <a:gd name="T44" fmla="*/ 342 w 1195"/>
                <a:gd name="T45" fmla="*/ 205 h 410"/>
                <a:gd name="T46" fmla="*/ 478 w 1195"/>
                <a:gd name="T47" fmla="*/ 68 h 410"/>
                <a:gd name="T48" fmla="*/ 103 w 1195"/>
                <a:gd name="T49" fmla="*/ 171 h 410"/>
                <a:gd name="T50" fmla="*/ 276 w 1195"/>
                <a:gd name="T51" fmla="*/ 171 h 410"/>
                <a:gd name="T52" fmla="*/ 276 w 1195"/>
                <a:gd name="T53" fmla="*/ 239 h 410"/>
                <a:gd name="T54" fmla="*/ 103 w 1195"/>
                <a:gd name="T55" fmla="*/ 239 h 410"/>
                <a:gd name="T56" fmla="*/ 69 w 1195"/>
                <a:gd name="T57" fmla="*/ 205 h 410"/>
                <a:gd name="T58" fmla="*/ 103 w 1195"/>
                <a:gd name="T59" fmla="*/ 171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95" h="410">
                  <a:moveTo>
                    <a:pt x="103" y="307"/>
                  </a:moveTo>
                  <a:cubicBezTo>
                    <a:pt x="301" y="307"/>
                    <a:pt x="301" y="307"/>
                    <a:pt x="301" y="307"/>
                  </a:cubicBezTo>
                  <a:cubicBezTo>
                    <a:pt x="338" y="370"/>
                    <a:pt x="405" y="410"/>
                    <a:pt x="478" y="410"/>
                  </a:cubicBezTo>
                  <a:cubicBezTo>
                    <a:pt x="551" y="410"/>
                    <a:pt x="619" y="370"/>
                    <a:pt x="655" y="307"/>
                  </a:cubicBezTo>
                  <a:cubicBezTo>
                    <a:pt x="1093" y="307"/>
                    <a:pt x="1093" y="307"/>
                    <a:pt x="1093" y="307"/>
                  </a:cubicBezTo>
                  <a:cubicBezTo>
                    <a:pt x="1149" y="307"/>
                    <a:pt x="1195" y="261"/>
                    <a:pt x="1195" y="205"/>
                  </a:cubicBezTo>
                  <a:cubicBezTo>
                    <a:pt x="1195" y="148"/>
                    <a:pt x="1149" y="102"/>
                    <a:pt x="1093" y="102"/>
                  </a:cubicBezTo>
                  <a:cubicBezTo>
                    <a:pt x="655" y="102"/>
                    <a:pt x="655" y="102"/>
                    <a:pt x="655" y="102"/>
                  </a:cubicBezTo>
                  <a:cubicBezTo>
                    <a:pt x="619" y="39"/>
                    <a:pt x="551" y="0"/>
                    <a:pt x="478" y="0"/>
                  </a:cubicBezTo>
                  <a:cubicBezTo>
                    <a:pt x="405" y="0"/>
                    <a:pt x="338" y="39"/>
                    <a:pt x="301" y="102"/>
                  </a:cubicBezTo>
                  <a:cubicBezTo>
                    <a:pt x="103" y="102"/>
                    <a:pt x="103" y="102"/>
                    <a:pt x="103" y="102"/>
                  </a:cubicBezTo>
                  <a:cubicBezTo>
                    <a:pt x="46" y="102"/>
                    <a:pt x="0" y="148"/>
                    <a:pt x="0" y="205"/>
                  </a:cubicBezTo>
                  <a:cubicBezTo>
                    <a:pt x="0" y="261"/>
                    <a:pt x="46" y="307"/>
                    <a:pt x="103" y="307"/>
                  </a:cubicBezTo>
                  <a:close/>
                  <a:moveTo>
                    <a:pt x="1093" y="171"/>
                  </a:moveTo>
                  <a:cubicBezTo>
                    <a:pt x="1111" y="171"/>
                    <a:pt x="1127" y="186"/>
                    <a:pt x="1127" y="205"/>
                  </a:cubicBezTo>
                  <a:cubicBezTo>
                    <a:pt x="1127" y="224"/>
                    <a:pt x="1111" y="239"/>
                    <a:pt x="1093" y="239"/>
                  </a:cubicBezTo>
                  <a:cubicBezTo>
                    <a:pt x="680" y="239"/>
                    <a:pt x="680" y="239"/>
                    <a:pt x="680" y="239"/>
                  </a:cubicBezTo>
                  <a:cubicBezTo>
                    <a:pt x="684" y="216"/>
                    <a:pt x="684" y="193"/>
                    <a:pt x="680" y="171"/>
                  </a:cubicBezTo>
                  <a:lnTo>
                    <a:pt x="1093" y="171"/>
                  </a:lnTo>
                  <a:close/>
                  <a:moveTo>
                    <a:pt x="478" y="68"/>
                  </a:moveTo>
                  <a:cubicBezTo>
                    <a:pt x="554" y="68"/>
                    <a:pt x="615" y="129"/>
                    <a:pt x="615" y="205"/>
                  </a:cubicBezTo>
                  <a:cubicBezTo>
                    <a:pt x="615" y="280"/>
                    <a:pt x="554" y="341"/>
                    <a:pt x="478" y="341"/>
                  </a:cubicBezTo>
                  <a:cubicBezTo>
                    <a:pt x="403" y="341"/>
                    <a:pt x="342" y="280"/>
                    <a:pt x="342" y="205"/>
                  </a:cubicBezTo>
                  <a:cubicBezTo>
                    <a:pt x="342" y="129"/>
                    <a:pt x="403" y="68"/>
                    <a:pt x="478" y="68"/>
                  </a:cubicBezTo>
                  <a:close/>
                  <a:moveTo>
                    <a:pt x="103" y="171"/>
                  </a:moveTo>
                  <a:cubicBezTo>
                    <a:pt x="276" y="171"/>
                    <a:pt x="276" y="171"/>
                    <a:pt x="276" y="171"/>
                  </a:cubicBezTo>
                  <a:cubicBezTo>
                    <a:pt x="272" y="193"/>
                    <a:pt x="272" y="216"/>
                    <a:pt x="276" y="239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84" y="239"/>
                    <a:pt x="69" y="224"/>
                    <a:pt x="69" y="205"/>
                  </a:cubicBezTo>
                  <a:cubicBezTo>
                    <a:pt x="69" y="186"/>
                    <a:pt x="84" y="171"/>
                    <a:pt x="103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49F81D6-8EE9-D90F-AD5D-E2741EDB93FC}"/>
              </a:ext>
            </a:extLst>
          </p:cNvPr>
          <p:cNvSpPr/>
          <p:nvPr/>
        </p:nvSpPr>
        <p:spPr>
          <a:xfrm>
            <a:off x="278269" y="794674"/>
            <a:ext cx="2797440" cy="48731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A05B0FE5-75F2-EBB1-75B3-584E38D16EA4}"/>
              </a:ext>
            </a:extLst>
          </p:cNvPr>
          <p:cNvSpPr/>
          <p:nvPr/>
        </p:nvSpPr>
        <p:spPr>
          <a:xfrm>
            <a:off x="355908" y="814771"/>
            <a:ext cx="5502282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ные</a:t>
            </a:r>
            <a:br>
              <a:rPr lang="ru-RU" sz="3600" dirty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дукты банка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C9CB58AB-ADAD-155A-80C9-860E57E64925}"/>
              </a:ext>
            </a:extLst>
          </p:cNvPr>
          <p:cNvSpPr/>
          <p:nvPr/>
        </p:nvSpPr>
        <p:spPr>
          <a:xfrm>
            <a:off x="278269" y="2042782"/>
            <a:ext cx="61345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defRPr/>
            </a:pPr>
            <a:r>
              <a:rPr lang="ru-RU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анком разработана </a:t>
            </a:r>
            <a:r>
              <a:rPr lang="ru-RU" b="1" dirty="0">
                <a:solidFill>
                  <a:srgbClr val="84E0F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ирокая линейка </a:t>
            </a:r>
            <a:br>
              <a:rPr lang="ru-RU" b="1" dirty="0">
                <a:solidFill>
                  <a:srgbClr val="84E0F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едитных</a:t>
            </a:r>
            <a:r>
              <a:rPr lang="en-US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уктов</a:t>
            </a:r>
            <a:endParaRPr lang="ru-RU" b="1" dirty="0">
              <a:solidFill>
                <a:srgbClr val="84E0F7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BA068638-62D9-BBC3-9A57-CF1DD9985E17}"/>
              </a:ext>
            </a:extLst>
          </p:cNvPr>
          <p:cNvSpPr/>
          <p:nvPr/>
        </p:nvSpPr>
        <p:spPr>
          <a:xfrm>
            <a:off x="286633" y="3625197"/>
            <a:ext cx="3949266" cy="3139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85725" marR="0" lvl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rgbClr val="84E0F7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Инвестиционное</a:t>
            </a:r>
            <a:r>
              <a:rPr kumimoji="0" lang="en-US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кредитование</a:t>
            </a:r>
            <a:endParaRPr kumimoji="0" lang="ru-RU" b="0" i="0" u="none" strike="noStrike" kern="1200" cap="none" spc="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C6BBCF29-B450-0014-3AB2-FEB069066AB7}"/>
              </a:ext>
            </a:extLst>
          </p:cNvPr>
          <p:cNvSpPr/>
          <p:nvPr/>
        </p:nvSpPr>
        <p:spPr>
          <a:xfrm>
            <a:off x="286634" y="4372575"/>
            <a:ext cx="3672528" cy="3139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85725" marR="0" lvl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rgbClr val="84E0F7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Оборотное</a:t>
            </a:r>
            <a:r>
              <a:rPr kumimoji="0" lang="en-US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кредитование</a:t>
            </a:r>
            <a:endParaRPr kumimoji="0" lang="ru-RU" b="0" i="0" u="none" strike="noStrike" kern="1200" cap="none" spc="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E7CCEFD4-AD75-E57F-7097-65379C949768}"/>
              </a:ext>
            </a:extLst>
          </p:cNvPr>
          <p:cNvSpPr/>
          <p:nvPr/>
        </p:nvSpPr>
        <p:spPr>
          <a:xfrm>
            <a:off x="286633" y="5119953"/>
            <a:ext cx="3672529" cy="3139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85725" marR="0" lvl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rgbClr val="84E0F7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Контрактное</a:t>
            </a:r>
            <a:r>
              <a:rPr kumimoji="0" lang="en-US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кредитование</a:t>
            </a:r>
            <a:endParaRPr kumimoji="0" lang="ru-RU" b="0" i="0" u="none" strike="noStrike" kern="1200" cap="none" spc="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38A4B74D-703E-1138-BEFF-1375B3B062DD}"/>
              </a:ext>
            </a:extLst>
          </p:cNvPr>
          <p:cNvSpPr/>
          <p:nvPr/>
        </p:nvSpPr>
        <p:spPr>
          <a:xfrm>
            <a:off x="286633" y="5867331"/>
            <a:ext cx="3672529" cy="3139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85725" marR="0" lvl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noProof="0" dirty="0">
                <a:ln>
                  <a:noFill/>
                </a:ln>
                <a:solidFill>
                  <a:srgbClr val="84E0F7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Рефинансирование</a:t>
            </a:r>
            <a:endParaRPr kumimoji="0" lang="ru-RU" b="0" i="0" u="none" strike="noStrike" kern="1200" cap="none" spc="0" normalizeH="0" noProof="0" dirty="0">
              <a:ln>
                <a:noFill/>
              </a:ln>
              <a:solidFill>
                <a:srgbClr val="84E0F7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6D9BE13-543C-D1C7-DC1F-88B41905CF59}"/>
              </a:ext>
            </a:extLst>
          </p:cNvPr>
          <p:cNvSpPr/>
          <p:nvPr/>
        </p:nvSpPr>
        <p:spPr>
          <a:xfrm>
            <a:off x="4712650" y="3480971"/>
            <a:ext cx="1429048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лет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69CB6E08-80DC-07A3-261B-4048711C0F5B}"/>
              </a:ext>
            </a:extLst>
          </p:cNvPr>
          <p:cNvSpPr/>
          <p:nvPr/>
        </p:nvSpPr>
        <p:spPr>
          <a:xfrm>
            <a:off x="4712650" y="4224287"/>
            <a:ext cx="1153882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лет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36183685-8645-C28D-18E7-E4820D376D88}"/>
              </a:ext>
            </a:extLst>
          </p:cNvPr>
          <p:cNvSpPr/>
          <p:nvPr/>
        </p:nvSpPr>
        <p:spPr>
          <a:xfrm>
            <a:off x="4712650" y="4979499"/>
            <a:ext cx="1153882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лет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6B4B2C07-D45C-520D-CAC2-4BDE3A7324C3}"/>
              </a:ext>
            </a:extLst>
          </p:cNvPr>
          <p:cNvSpPr/>
          <p:nvPr/>
        </p:nvSpPr>
        <p:spPr>
          <a:xfrm>
            <a:off x="4712650" y="5710007"/>
            <a:ext cx="1153882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д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7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 лет</a:t>
            </a:r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E6D96770-27CA-B761-570B-1856FB471FDA}"/>
              </a:ext>
            </a:extLst>
          </p:cNvPr>
          <p:cNvCxnSpPr>
            <a:cxnSpLocks/>
          </p:cNvCxnSpPr>
          <p:nvPr/>
        </p:nvCxnSpPr>
        <p:spPr>
          <a:xfrm>
            <a:off x="4073236" y="3838392"/>
            <a:ext cx="471055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7821EE09-5522-2DAD-CC9D-9F4E000E8365}"/>
              </a:ext>
            </a:extLst>
          </p:cNvPr>
          <p:cNvCxnSpPr>
            <a:cxnSpLocks/>
          </p:cNvCxnSpPr>
          <p:nvPr/>
        </p:nvCxnSpPr>
        <p:spPr>
          <a:xfrm>
            <a:off x="3345550" y="4572683"/>
            <a:ext cx="119874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F297FAB-5AB4-33E2-D896-051AD9705F96}"/>
              </a:ext>
            </a:extLst>
          </p:cNvPr>
          <p:cNvCxnSpPr>
            <a:cxnSpLocks/>
          </p:cNvCxnSpPr>
          <p:nvPr/>
        </p:nvCxnSpPr>
        <p:spPr>
          <a:xfrm>
            <a:off x="3574473" y="5320829"/>
            <a:ext cx="969818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B087F9A1-6818-789D-4644-BBFCE1D43214}"/>
              </a:ext>
            </a:extLst>
          </p:cNvPr>
          <p:cNvCxnSpPr>
            <a:cxnSpLocks/>
          </p:cNvCxnSpPr>
          <p:nvPr/>
        </p:nvCxnSpPr>
        <p:spPr>
          <a:xfrm>
            <a:off x="2687782" y="6068974"/>
            <a:ext cx="1856509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4A29F428-FBE2-96F5-476C-DEF3F733920F}"/>
              </a:ext>
            </a:extLst>
          </p:cNvPr>
          <p:cNvGrpSpPr/>
          <p:nvPr/>
        </p:nvGrpSpPr>
        <p:grpSpPr>
          <a:xfrm>
            <a:off x="6517703" y="1007268"/>
            <a:ext cx="4731310" cy="1047079"/>
            <a:chOff x="6319263" y="1877892"/>
            <a:chExt cx="4731310" cy="1047079"/>
          </a:xfrm>
        </p:grpSpPr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21DE6605-FB87-30DC-ED8C-CFC10369C7C5}"/>
                </a:ext>
              </a:extLst>
            </p:cNvPr>
            <p:cNvSpPr/>
            <p:nvPr/>
          </p:nvSpPr>
          <p:spPr>
            <a:xfrm>
              <a:off x="6319263" y="2084511"/>
              <a:ext cx="106383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spc="7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сумма</a:t>
              </a:r>
              <a:endParaRPr lang="ru-RU" sz="1100" spc="7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C32B43D3-F911-EBD7-0334-519E4C2CD5E2}"/>
                </a:ext>
              </a:extLst>
            </p:cNvPr>
            <p:cNvSpPr/>
            <p:nvPr/>
          </p:nvSpPr>
          <p:spPr>
            <a:xfrm>
              <a:off x="7383097" y="1877892"/>
              <a:ext cx="3667476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от</a:t>
              </a:r>
              <a:r>
                <a:rPr lang="ru-RU" sz="1600" spc="7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</a:t>
              </a:r>
              <a:r>
                <a:rPr lang="ru-RU" sz="3200" spc="7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10</a:t>
              </a:r>
              <a:r>
                <a:rPr lang="ru-RU" sz="1600" spc="7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</a:t>
              </a: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млн рублей</a:t>
              </a:r>
              <a:endPara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9EE1B998-953B-823F-E389-03F35709F406}"/>
                </a:ext>
              </a:extLst>
            </p:cNvPr>
            <p:cNvSpPr/>
            <p:nvPr/>
          </p:nvSpPr>
          <p:spPr>
            <a:xfrm>
              <a:off x="7383097" y="2432528"/>
              <a:ext cx="3667476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до</a:t>
              </a:r>
              <a:r>
                <a:rPr lang="ru-RU" sz="1600" spc="7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</a:t>
              </a:r>
              <a:r>
                <a:rPr lang="ru-RU" sz="3200" spc="7" dirty="0">
                  <a:latin typeface="Segoe UI Black" panose="020B0A02040204020203" pitchFamily="34" charset="0"/>
                  <a:cs typeface="Segoe UI Semibold" panose="020B0702040204020203" pitchFamily="34" charset="0"/>
                </a:rPr>
                <a:t>50</a:t>
              </a:r>
              <a:r>
                <a:rPr lang="ru-RU" sz="3200" spc="7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0</a:t>
              </a:r>
              <a:r>
                <a:rPr lang="ru-RU" sz="1600" spc="7" dirty="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 </a:t>
              </a:r>
              <a:r>
                <a:rPr lang="ru-RU" sz="1600" spc="7" dirty="0">
                  <a:latin typeface="Segoe UI" panose="020B0502040204020203" pitchFamily="34" charset="0"/>
                  <a:cs typeface="Segoe UI" panose="020B0502040204020203" pitchFamily="34" charset="0"/>
                </a:rPr>
                <a:t>млн рублей</a:t>
              </a:r>
              <a:endParaRPr lang="ru-RU" sz="1600" spc="7" dirty="0"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05696B8A-1ADD-A3D2-4F1E-8E35C48520F4}"/>
              </a:ext>
            </a:extLst>
          </p:cNvPr>
          <p:cNvSpPr/>
          <p:nvPr/>
        </p:nvSpPr>
        <p:spPr>
          <a:xfrm>
            <a:off x="6517702" y="2341615"/>
            <a:ext cx="4619989" cy="5719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ребования к получателю поддержки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endParaRPr lang="ru-RU" sz="1400" spc="7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3" name="Slide Number Placeholder 24">
            <a:extLst>
              <a:ext uri="{FF2B5EF4-FFF2-40B4-BE49-F238E27FC236}">
                <a16:creationId xmlns:a16="http://schemas.microsoft.com/office/drawing/2014/main" id="{A0D6C809-8AD8-8F20-4C42-B69FE48FE978}"/>
              </a:ext>
            </a:extLst>
          </p:cNvPr>
          <p:cNvSpPr txBox="1">
            <a:spLocks/>
          </p:cNvSpPr>
          <p:nvPr/>
        </p:nvSpPr>
        <p:spPr>
          <a:xfrm>
            <a:off x="11333981" y="6376228"/>
            <a:ext cx="10038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C48702-E445-134E-B960-6F692773524F}" type="slidenum">
              <a:rPr kumimoji="0" lang="en-US" i="0" u="none" strike="noStrike" kern="1200" cap="none" spc="0" normalizeH="0" baseline="0" noProof="0" smtClean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Open Sans SemiBold" charset="0"/>
                <a:cs typeface="Golos UI" panose="020B0504020202020204" pitchFamily="34" charset="-52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ea typeface="Open Sans SemiBold" charset="0"/>
              <a:cs typeface="Golos UI" panose="020B0504020202020204" pitchFamily="34" charset="-52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2831C19B-2E26-F4A4-54B2-FDD7B33A87A4}"/>
              </a:ext>
            </a:extLst>
          </p:cNvPr>
          <p:cNvSpPr/>
          <p:nvPr/>
        </p:nvSpPr>
        <p:spPr>
          <a:xfrm>
            <a:off x="6517702" y="2779961"/>
            <a:ext cx="4619989" cy="36471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сведения о заемщике внесены в Единый Реестр субъектов МСП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заемщик является налоговым резидентом РФ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срок регистрации Заемщика на дату </a:t>
            </a:r>
            <a:b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подачи заявки не менее 12 месяцев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заемщик не относится к субъектам МСП, указанным в части 3 и 4 ст. 14 ФЗ от 24.07.2007 № 209-ФЗ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юридическое лицо, являющееся контролирующим  лицом Заемщика, а также всех лиц, входящих в цепочку собственников Заемщика – резидент РФ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отсутствие возбужденного производства </a:t>
            </a:r>
            <a:b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по делу о несостоятельности (банкротстве)</a:t>
            </a:r>
          </a:p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D609119B-79A8-1C3C-0498-A672803FF712}"/>
              </a:ext>
            </a:extLst>
          </p:cNvPr>
          <p:cNvGrpSpPr/>
          <p:nvPr/>
        </p:nvGrpSpPr>
        <p:grpSpPr>
          <a:xfrm>
            <a:off x="7922596" y="345197"/>
            <a:ext cx="2120767" cy="385214"/>
            <a:chOff x="9808833" y="303241"/>
            <a:chExt cx="2036610" cy="369928"/>
          </a:xfrm>
        </p:grpSpPr>
        <p:sp>
          <p:nvSpPr>
            <p:cNvPr id="63" name="Freeform 5">
              <a:extLst>
                <a:ext uri="{FF2B5EF4-FFF2-40B4-BE49-F238E27FC236}">
                  <a16:creationId xmlns:a16="http://schemas.microsoft.com/office/drawing/2014/main" id="{95CFCCDE-4DB5-726E-B1F4-0FBACABAF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8266" y="303241"/>
              <a:ext cx="707177" cy="369928"/>
            </a:xfrm>
            <a:custGeom>
              <a:avLst/>
              <a:gdLst>
                <a:gd name="T0" fmla="*/ 1659 w 7571"/>
                <a:gd name="T1" fmla="*/ 1021 h 3962"/>
                <a:gd name="T2" fmla="*/ 1348 w 7571"/>
                <a:gd name="T3" fmla="*/ 1288 h 3962"/>
                <a:gd name="T4" fmla="*/ 1527 w 7571"/>
                <a:gd name="T5" fmla="*/ 1677 h 3962"/>
                <a:gd name="T6" fmla="*/ 1925 w 7571"/>
                <a:gd name="T7" fmla="*/ 1557 h 3962"/>
                <a:gd name="T8" fmla="*/ 1889 w 7571"/>
                <a:gd name="T9" fmla="*/ 1116 h 3962"/>
                <a:gd name="T10" fmla="*/ 1636 w 7571"/>
                <a:gd name="T11" fmla="*/ 1583 h 3962"/>
                <a:gd name="T12" fmla="*/ 1475 w 7571"/>
                <a:gd name="T13" fmla="*/ 1361 h 3962"/>
                <a:gd name="T14" fmla="*/ 1614 w 7571"/>
                <a:gd name="T15" fmla="*/ 1143 h 3962"/>
                <a:gd name="T16" fmla="*/ 1830 w 7571"/>
                <a:gd name="T17" fmla="*/ 1270 h 3962"/>
                <a:gd name="T18" fmla="*/ 2688 w 7571"/>
                <a:gd name="T19" fmla="*/ 1361 h 3962"/>
                <a:gd name="T20" fmla="*/ 2459 w 7571"/>
                <a:gd name="T21" fmla="*/ 1027 h 3962"/>
                <a:gd name="T22" fmla="*/ 2229 w 7571"/>
                <a:gd name="T23" fmla="*/ 1648 h 3962"/>
                <a:gd name="T24" fmla="*/ 2610 w 7571"/>
                <a:gd name="T25" fmla="*/ 1604 h 3962"/>
                <a:gd name="T26" fmla="*/ 2289 w 7571"/>
                <a:gd name="T27" fmla="*/ 1567 h 3962"/>
                <a:gd name="T28" fmla="*/ 2209 w 7571"/>
                <a:gd name="T29" fmla="*/ 1298 h 3962"/>
                <a:gd name="T30" fmla="*/ 2390 w 7571"/>
                <a:gd name="T31" fmla="*/ 1135 h 3962"/>
                <a:gd name="T32" fmla="*/ 2555 w 7571"/>
                <a:gd name="T33" fmla="*/ 1330 h 3962"/>
                <a:gd name="T34" fmla="*/ 3227 w 7571"/>
                <a:gd name="T35" fmla="*/ 1684 h 3962"/>
                <a:gd name="T36" fmla="*/ 3656 w 7571"/>
                <a:gd name="T37" fmla="*/ 1045 h 3962"/>
                <a:gd name="T38" fmla="*/ 3475 w 7571"/>
                <a:gd name="T39" fmla="*/ 1432 h 3962"/>
                <a:gd name="T40" fmla="*/ 3785 w 7571"/>
                <a:gd name="T41" fmla="*/ 1701 h 3962"/>
                <a:gd name="T42" fmla="*/ 4097 w 7571"/>
                <a:gd name="T43" fmla="*/ 1433 h 3962"/>
                <a:gd name="T44" fmla="*/ 3924 w 7571"/>
                <a:gd name="T45" fmla="*/ 1522 h 3962"/>
                <a:gd name="T46" fmla="*/ 3698 w 7571"/>
                <a:gd name="T47" fmla="*/ 1565 h 3962"/>
                <a:gd name="T48" fmla="*/ 3614 w 7571"/>
                <a:gd name="T49" fmla="*/ 1271 h 3962"/>
                <a:gd name="T50" fmla="*/ 3839 w 7571"/>
                <a:gd name="T51" fmla="*/ 1144 h 3962"/>
                <a:gd name="T52" fmla="*/ 3967 w 7571"/>
                <a:gd name="T53" fmla="*/ 1408 h 3962"/>
                <a:gd name="T54" fmla="*/ 4401 w 7571"/>
                <a:gd name="T55" fmla="*/ 1046 h 3962"/>
                <a:gd name="T56" fmla="*/ 4525 w 7571"/>
                <a:gd name="T57" fmla="*/ 1701 h 3962"/>
                <a:gd name="T58" fmla="*/ 4810 w 7571"/>
                <a:gd name="T59" fmla="*/ 1430 h 3962"/>
                <a:gd name="T60" fmla="*/ 4664 w 7571"/>
                <a:gd name="T61" fmla="*/ 1476 h 3962"/>
                <a:gd name="T62" fmla="*/ 4439 w 7571"/>
                <a:gd name="T63" fmla="*/ 1578 h 3962"/>
                <a:gd name="T64" fmla="*/ 4333 w 7571"/>
                <a:gd name="T65" fmla="*/ 1329 h 3962"/>
                <a:gd name="T66" fmla="*/ 4488 w 7571"/>
                <a:gd name="T67" fmla="*/ 1135 h 3962"/>
                <a:gd name="T68" fmla="*/ 4678 w 7571"/>
                <a:gd name="T69" fmla="*/ 1300 h 3962"/>
                <a:gd name="T70" fmla="*/ 5343 w 7571"/>
                <a:gd name="T71" fmla="*/ 1050 h 3962"/>
                <a:gd name="T72" fmla="*/ 4947 w 7571"/>
                <a:gd name="T73" fmla="*/ 1144 h 3962"/>
                <a:gd name="T74" fmla="*/ 5210 w 7571"/>
                <a:gd name="T75" fmla="*/ 1137 h 3962"/>
                <a:gd name="T76" fmla="*/ 5205 w 7571"/>
                <a:gd name="T77" fmla="*/ 1286 h 3962"/>
                <a:gd name="T78" fmla="*/ 4906 w 7571"/>
                <a:gd name="T79" fmla="*/ 1452 h 3962"/>
                <a:gd name="T80" fmla="*/ 4997 w 7571"/>
                <a:gd name="T81" fmla="*/ 1676 h 3962"/>
                <a:gd name="T82" fmla="*/ 5322 w 7571"/>
                <a:gd name="T83" fmla="*/ 1623 h 3962"/>
                <a:gd name="T84" fmla="*/ 5286 w 7571"/>
                <a:gd name="T85" fmla="*/ 1540 h 3962"/>
                <a:gd name="T86" fmla="*/ 5036 w 7571"/>
                <a:gd name="T87" fmla="*/ 1553 h 3962"/>
                <a:gd name="T88" fmla="*/ 5202 w 7571"/>
                <a:gd name="T89" fmla="*/ 1392 h 3962"/>
                <a:gd name="T90" fmla="*/ 5603 w 7571"/>
                <a:gd name="T91" fmla="*/ 1039 h 3962"/>
                <a:gd name="T92" fmla="*/ 7290 w 7571"/>
                <a:gd name="T93" fmla="*/ 1040 h 3962"/>
                <a:gd name="T94" fmla="*/ 7038 w 7571"/>
                <a:gd name="T95" fmla="*/ 1231 h 3962"/>
                <a:gd name="T96" fmla="*/ 7306 w 7571"/>
                <a:gd name="T97" fmla="*/ 1460 h 3962"/>
                <a:gd name="T98" fmla="*/ 7200 w 7571"/>
                <a:gd name="T99" fmla="*/ 1330 h 3962"/>
                <a:gd name="T100" fmla="*/ 7230 w 7571"/>
                <a:gd name="T101" fmla="*/ 1151 h 3962"/>
                <a:gd name="T102" fmla="*/ 1375 w 7571"/>
                <a:gd name="T103" fmla="*/ 2830 h 3962"/>
                <a:gd name="T104" fmla="*/ 2174 w 7571"/>
                <a:gd name="T105" fmla="*/ 2281 h 3962"/>
                <a:gd name="T106" fmla="*/ 2299 w 7571"/>
                <a:gd name="T107" fmla="*/ 2251 h 3962"/>
                <a:gd name="T108" fmla="*/ 1975 w 7571"/>
                <a:gd name="T109" fmla="*/ 2072 h 3962"/>
                <a:gd name="T110" fmla="*/ 1628 w 7571"/>
                <a:gd name="T111" fmla="*/ 2268 h 3962"/>
                <a:gd name="T112" fmla="*/ 1765 w 7571"/>
                <a:gd name="T113" fmla="*/ 2854 h 3962"/>
                <a:gd name="T114" fmla="*/ 2202 w 7571"/>
                <a:gd name="T115" fmla="*/ 2969 h 3962"/>
                <a:gd name="T116" fmla="*/ 2262 w 7571"/>
                <a:gd name="T117" fmla="*/ 2712 h 3962"/>
                <a:gd name="T118" fmla="*/ 1943 w 7571"/>
                <a:gd name="T119" fmla="*/ 2836 h 3962"/>
                <a:gd name="T120" fmla="*/ 1732 w 7571"/>
                <a:gd name="T121" fmla="*/ 2471 h 3962"/>
                <a:gd name="T122" fmla="*/ 3192 w 7571"/>
                <a:gd name="T123" fmla="*/ 2331 h 3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71" h="3962">
                  <a:moveTo>
                    <a:pt x="764" y="1273"/>
                  </a:moveTo>
                  <a:lnTo>
                    <a:pt x="1147" y="1684"/>
                  </a:lnTo>
                  <a:lnTo>
                    <a:pt x="1307" y="1684"/>
                  </a:lnTo>
                  <a:lnTo>
                    <a:pt x="898" y="1243"/>
                  </a:lnTo>
                  <a:lnTo>
                    <a:pt x="1279" y="824"/>
                  </a:lnTo>
                  <a:lnTo>
                    <a:pt x="1123" y="824"/>
                  </a:lnTo>
                  <a:lnTo>
                    <a:pt x="764" y="1225"/>
                  </a:lnTo>
                  <a:lnTo>
                    <a:pt x="764" y="824"/>
                  </a:lnTo>
                  <a:lnTo>
                    <a:pt x="639" y="824"/>
                  </a:lnTo>
                  <a:lnTo>
                    <a:pt x="639" y="1684"/>
                  </a:lnTo>
                  <a:lnTo>
                    <a:pt x="764" y="1684"/>
                  </a:lnTo>
                  <a:lnTo>
                    <a:pt x="764" y="1273"/>
                  </a:lnTo>
                  <a:close/>
                  <a:moveTo>
                    <a:pt x="1826" y="1064"/>
                  </a:moveTo>
                  <a:lnTo>
                    <a:pt x="1808" y="1055"/>
                  </a:lnTo>
                  <a:lnTo>
                    <a:pt x="1789" y="1046"/>
                  </a:lnTo>
                  <a:lnTo>
                    <a:pt x="1770" y="1039"/>
                  </a:lnTo>
                  <a:lnTo>
                    <a:pt x="1748" y="1032"/>
                  </a:lnTo>
                  <a:lnTo>
                    <a:pt x="1727" y="1027"/>
                  </a:lnTo>
                  <a:lnTo>
                    <a:pt x="1704" y="1024"/>
                  </a:lnTo>
                  <a:lnTo>
                    <a:pt x="1682" y="1021"/>
                  </a:lnTo>
                  <a:lnTo>
                    <a:pt x="1659" y="1021"/>
                  </a:lnTo>
                  <a:lnTo>
                    <a:pt x="1635" y="1021"/>
                  </a:lnTo>
                  <a:lnTo>
                    <a:pt x="1612" y="1024"/>
                  </a:lnTo>
                  <a:lnTo>
                    <a:pt x="1590" y="1027"/>
                  </a:lnTo>
                  <a:lnTo>
                    <a:pt x="1569" y="1032"/>
                  </a:lnTo>
                  <a:lnTo>
                    <a:pt x="1549" y="1037"/>
                  </a:lnTo>
                  <a:lnTo>
                    <a:pt x="1530" y="1045"/>
                  </a:lnTo>
                  <a:lnTo>
                    <a:pt x="1510" y="1053"/>
                  </a:lnTo>
                  <a:lnTo>
                    <a:pt x="1492" y="1064"/>
                  </a:lnTo>
                  <a:lnTo>
                    <a:pt x="1475" y="1075"/>
                  </a:lnTo>
                  <a:lnTo>
                    <a:pt x="1459" y="1088"/>
                  </a:lnTo>
                  <a:lnTo>
                    <a:pt x="1443" y="1100"/>
                  </a:lnTo>
                  <a:lnTo>
                    <a:pt x="1429" y="1115"/>
                  </a:lnTo>
                  <a:lnTo>
                    <a:pt x="1415" y="1130"/>
                  </a:lnTo>
                  <a:lnTo>
                    <a:pt x="1404" y="1147"/>
                  </a:lnTo>
                  <a:lnTo>
                    <a:pt x="1392" y="1164"/>
                  </a:lnTo>
                  <a:lnTo>
                    <a:pt x="1382" y="1184"/>
                  </a:lnTo>
                  <a:lnTo>
                    <a:pt x="1373" y="1203"/>
                  </a:lnTo>
                  <a:lnTo>
                    <a:pt x="1364" y="1223"/>
                  </a:lnTo>
                  <a:lnTo>
                    <a:pt x="1358" y="1245"/>
                  </a:lnTo>
                  <a:lnTo>
                    <a:pt x="1352" y="1266"/>
                  </a:lnTo>
                  <a:lnTo>
                    <a:pt x="1348" y="1288"/>
                  </a:lnTo>
                  <a:lnTo>
                    <a:pt x="1345" y="1312"/>
                  </a:lnTo>
                  <a:lnTo>
                    <a:pt x="1343" y="1336"/>
                  </a:lnTo>
                  <a:lnTo>
                    <a:pt x="1343" y="1361"/>
                  </a:lnTo>
                  <a:lnTo>
                    <a:pt x="1343" y="1385"/>
                  </a:lnTo>
                  <a:lnTo>
                    <a:pt x="1345" y="1410"/>
                  </a:lnTo>
                  <a:lnTo>
                    <a:pt x="1348" y="1432"/>
                  </a:lnTo>
                  <a:lnTo>
                    <a:pt x="1352" y="1455"/>
                  </a:lnTo>
                  <a:lnTo>
                    <a:pt x="1358" y="1477"/>
                  </a:lnTo>
                  <a:lnTo>
                    <a:pt x="1364" y="1499"/>
                  </a:lnTo>
                  <a:lnTo>
                    <a:pt x="1372" y="1519"/>
                  </a:lnTo>
                  <a:lnTo>
                    <a:pt x="1381" y="1538"/>
                  </a:lnTo>
                  <a:lnTo>
                    <a:pt x="1391" y="1556"/>
                  </a:lnTo>
                  <a:lnTo>
                    <a:pt x="1403" y="1574"/>
                  </a:lnTo>
                  <a:lnTo>
                    <a:pt x="1414" y="1590"/>
                  </a:lnTo>
                  <a:lnTo>
                    <a:pt x="1427" y="1606"/>
                  </a:lnTo>
                  <a:lnTo>
                    <a:pt x="1442" y="1621"/>
                  </a:lnTo>
                  <a:lnTo>
                    <a:pt x="1457" y="1634"/>
                  </a:lnTo>
                  <a:lnTo>
                    <a:pt x="1473" y="1647"/>
                  </a:lnTo>
                  <a:lnTo>
                    <a:pt x="1490" y="1659"/>
                  </a:lnTo>
                  <a:lnTo>
                    <a:pt x="1508" y="1668"/>
                  </a:lnTo>
                  <a:lnTo>
                    <a:pt x="1527" y="1677"/>
                  </a:lnTo>
                  <a:lnTo>
                    <a:pt x="1548" y="1684"/>
                  </a:lnTo>
                  <a:lnTo>
                    <a:pt x="1568" y="1691"/>
                  </a:lnTo>
                  <a:lnTo>
                    <a:pt x="1589" y="1696"/>
                  </a:lnTo>
                  <a:lnTo>
                    <a:pt x="1612" y="1699"/>
                  </a:lnTo>
                  <a:lnTo>
                    <a:pt x="1634" y="1701"/>
                  </a:lnTo>
                  <a:lnTo>
                    <a:pt x="1659" y="1701"/>
                  </a:lnTo>
                  <a:lnTo>
                    <a:pt x="1682" y="1701"/>
                  </a:lnTo>
                  <a:lnTo>
                    <a:pt x="1704" y="1699"/>
                  </a:lnTo>
                  <a:lnTo>
                    <a:pt x="1727" y="1696"/>
                  </a:lnTo>
                  <a:lnTo>
                    <a:pt x="1748" y="1691"/>
                  </a:lnTo>
                  <a:lnTo>
                    <a:pt x="1768" y="1685"/>
                  </a:lnTo>
                  <a:lnTo>
                    <a:pt x="1789" y="1678"/>
                  </a:lnTo>
                  <a:lnTo>
                    <a:pt x="1807" y="1668"/>
                  </a:lnTo>
                  <a:lnTo>
                    <a:pt x="1825" y="1659"/>
                  </a:lnTo>
                  <a:lnTo>
                    <a:pt x="1842" y="1647"/>
                  </a:lnTo>
                  <a:lnTo>
                    <a:pt x="1859" y="1635"/>
                  </a:lnTo>
                  <a:lnTo>
                    <a:pt x="1874" y="1621"/>
                  </a:lnTo>
                  <a:lnTo>
                    <a:pt x="1888" y="1607"/>
                  </a:lnTo>
                  <a:lnTo>
                    <a:pt x="1902" y="1591"/>
                  </a:lnTo>
                  <a:lnTo>
                    <a:pt x="1914" y="1574"/>
                  </a:lnTo>
                  <a:lnTo>
                    <a:pt x="1925" y="1557"/>
                  </a:lnTo>
                  <a:lnTo>
                    <a:pt x="1935" y="1538"/>
                  </a:lnTo>
                  <a:lnTo>
                    <a:pt x="1944" y="1519"/>
                  </a:lnTo>
                  <a:lnTo>
                    <a:pt x="1953" y="1499"/>
                  </a:lnTo>
                  <a:lnTo>
                    <a:pt x="1959" y="1477"/>
                  </a:lnTo>
                  <a:lnTo>
                    <a:pt x="1965" y="1456"/>
                  </a:lnTo>
                  <a:lnTo>
                    <a:pt x="1969" y="1433"/>
                  </a:lnTo>
                  <a:lnTo>
                    <a:pt x="1972" y="1410"/>
                  </a:lnTo>
                  <a:lnTo>
                    <a:pt x="1974" y="1385"/>
                  </a:lnTo>
                  <a:lnTo>
                    <a:pt x="1974" y="1361"/>
                  </a:lnTo>
                  <a:lnTo>
                    <a:pt x="1974" y="1336"/>
                  </a:lnTo>
                  <a:lnTo>
                    <a:pt x="1972" y="1313"/>
                  </a:lnTo>
                  <a:lnTo>
                    <a:pt x="1969" y="1289"/>
                  </a:lnTo>
                  <a:lnTo>
                    <a:pt x="1965" y="1267"/>
                  </a:lnTo>
                  <a:lnTo>
                    <a:pt x="1959" y="1246"/>
                  </a:lnTo>
                  <a:lnTo>
                    <a:pt x="1953" y="1224"/>
                  </a:lnTo>
                  <a:lnTo>
                    <a:pt x="1944" y="1204"/>
                  </a:lnTo>
                  <a:lnTo>
                    <a:pt x="1936" y="1185"/>
                  </a:lnTo>
                  <a:lnTo>
                    <a:pt x="1925" y="1167"/>
                  </a:lnTo>
                  <a:lnTo>
                    <a:pt x="1915" y="1148"/>
                  </a:lnTo>
                  <a:lnTo>
                    <a:pt x="1902" y="1132"/>
                  </a:lnTo>
                  <a:lnTo>
                    <a:pt x="1889" y="1116"/>
                  </a:lnTo>
                  <a:lnTo>
                    <a:pt x="1875" y="1102"/>
                  </a:lnTo>
                  <a:lnTo>
                    <a:pt x="1859" y="1089"/>
                  </a:lnTo>
                  <a:lnTo>
                    <a:pt x="1843" y="1076"/>
                  </a:lnTo>
                  <a:lnTo>
                    <a:pt x="1826" y="1064"/>
                  </a:lnTo>
                  <a:close/>
                  <a:moveTo>
                    <a:pt x="1796" y="1522"/>
                  </a:moveTo>
                  <a:lnTo>
                    <a:pt x="1796" y="1522"/>
                  </a:lnTo>
                  <a:lnTo>
                    <a:pt x="1791" y="1530"/>
                  </a:lnTo>
                  <a:lnTo>
                    <a:pt x="1784" y="1536"/>
                  </a:lnTo>
                  <a:lnTo>
                    <a:pt x="1778" y="1543"/>
                  </a:lnTo>
                  <a:lnTo>
                    <a:pt x="1771" y="1549"/>
                  </a:lnTo>
                  <a:lnTo>
                    <a:pt x="1763" y="1555"/>
                  </a:lnTo>
                  <a:lnTo>
                    <a:pt x="1756" y="1559"/>
                  </a:lnTo>
                  <a:lnTo>
                    <a:pt x="1747" y="1565"/>
                  </a:lnTo>
                  <a:lnTo>
                    <a:pt x="1739" y="1569"/>
                  </a:lnTo>
                  <a:lnTo>
                    <a:pt x="1730" y="1572"/>
                  </a:lnTo>
                  <a:lnTo>
                    <a:pt x="1720" y="1575"/>
                  </a:lnTo>
                  <a:lnTo>
                    <a:pt x="1711" y="1579"/>
                  </a:lnTo>
                  <a:lnTo>
                    <a:pt x="1701" y="1581"/>
                  </a:lnTo>
                  <a:lnTo>
                    <a:pt x="1681" y="1583"/>
                  </a:lnTo>
                  <a:lnTo>
                    <a:pt x="1659" y="1584"/>
                  </a:lnTo>
                  <a:lnTo>
                    <a:pt x="1636" y="1583"/>
                  </a:lnTo>
                  <a:lnTo>
                    <a:pt x="1616" y="1581"/>
                  </a:lnTo>
                  <a:lnTo>
                    <a:pt x="1606" y="1579"/>
                  </a:lnTo>
                  <a:lnTo>
                    <a:pt x="1597" y="1575"/>
                  </a:lnTo>
                  <a:lnTo>
                    <a:pt x="1587" y="1572"/>
                  </a:lnTo>
                  <a:lnTo>
                    <a:pt x="1579" y="1569"/>
                  </a:lnTo>
                  <a:lnTo>
                    <a:pt x="1570" y="1565"/>
                  </a:lnTo>
                  <a:lnTo>
                    <a:pt x="1563" y="1560"/>
                  </a:lnTo>
                  <a:lnTo>
                    <a:pt x="1555" y="1555"/>
                  </a:lnTo>
                  <a:lnTo>
                    <a:pt x="1548" y="1550"/>
                  </a:lnTo>
                  <a:lnTo>
                    <a:pt x="1540" y="1544"/>
                  </a:lnTo>
                  <a:lnTo>
                    <a:pt x="1534" y="1538"/>
                  </a:lnTo>
                  <a:lnTo>
                    <a:pt x="1527" y="1531"/>
                  </a:lnTo>
                  <a:lnTo>
                    <a:pt x="1521" y="1523"/>
                  </a:lnTo>
                  <a:lnTo>
                    <a:pt x="1510" y="1507"/>
                  </a:lnTo>
                  <a:lnTo>
                    <a:pt x="1501" y="1490"/>
                  </a:lnTo>
                  <a:lnTo>
                    <a:pt x="1493" y="1472"/>
                  </a:lnTo>
                  <a:lnTo>
                    <a:pt x="1487" y="1453"/>
                  </a:lnTo>
                  <a:lnTo>
                    <a:pt x="1482" y="1431"/>
                  </a:lnTo>
                  <a:lnTo>
                    <a:pt x="1478" y="1409"/>
                  </a:lnTo>
                  <a:lnTo>
                    <a:pt x="1476" y="1385"/>
                  </a:lnTo>
                  <a:lnTo>
                    <a:pt x="1475" y="1361"/>
                  </a:lnTo>
                  <a:lnTo>
                    <a:pt x="1475" y="1345"/>
                  </a:lnTo>
                  <a:lnTo>
                    <a:pt x="1476" y="1329"/>
                  </a:lnTo>
                  <a:lnTo>
                    <a:pt x="1477" y="1314"/>
                  </a:lnTo>
                  <a:lnTo>
                    <a:pt x="1479" y="1299"/>
                  </a:lnTo>
                  <a:lnTo>
                    <a:pt x="1483" y="1285"/>
                  </a:lnTo>
                  <a:lnTo>
                    <a:pt x="1486" y="1271"/>
                  </a:lnTo>
                  <a:lnTo>
                    <a:pt x="1490" y="1258"/>
                  </a:lnTo>
                  <a:lnTo>
                    <a:pt x="1494" y="1246"/>
                  </a:lnTo>
                  <a:lnTo>
                    <a:pt x="1500" y="1233"/>
                  </a:lnTo>
                  <a:lnTo>
                    <a:pt x="1506" y="1222"/>
                  </a:lnTo>
                  <a:lnTo>
                    <a:pt x="1512" y="1211"/>
                  </a:lnTo>
                  <a:lnTo>
                    <a:pt x="1520" y="1201"/>
                  </a:lnTo>
                  <a:lnTo>
                    <a:pt x="1527" y="1191"/>
                  </a:lnTo>
                  <a:lnTo>
                    <a:pt x="1536" y="1183"/>
                  </a:lnTo>
                  <a:lnTo>
                    <a:pt x="1546" y="1174"/>
                  </a:lnTo>
                  <a:lnTo>
                    <a:pt x="1555" y="1167"/>
                  </a:lnTo>
                  <a:lnTo>
                    <a:pt x="1566" y="1160"/>
                  </a:lnTo>
                  <a:lnTo>
                    <a:pt x="1576" y="1155"/>
                  </a:lnTo>
                  <a:lnTo>
                    <a:pt x="1588" y="1150"/>
                  </a:lnTo>
                  <a:lnTo>
                    <a:pt x="1601" y="1145"/>
                  </a:lnTo>
                  <a:lnTo>
                    <a:pt x="1614" y="1143"/>
                  </a:lnTo>
                  <a:lnTo>
                    <a:pt x="1628" y="1140"/>
                  </a:lnTo>
                  <a:lnTo>
                    <a:pt x="1643" y="1139"/>
                  </a:lnTo>
                  <a:lnTo>
                    <a:pt x="1659" y="1139"/>
                  </a:lnTo>
                  <a:lnTo>
                    <a:pt x="1680" y="1140"/>
                  </a:lnTo>
                  <a:lnTo>
                    <a:pt x="1701" y="1142"/>
                  </a:lnTo>
                  <a:lnTo>
                    <a:pt x="1711" y="1144"/>
                  </a:lnTo>
                  <a:lnTo>
                    <a:pt x="1720" y="1147"/>
                  </a:lnTo>
                  <a:lnTo>
                    <a:pt x="1729" y="1151"/>
                  </a:lnTo>
                  <a:lnTo>
                    <a:pt x="1739" y="1154"/>
                  </a:lnTo>
                  <a:lnTo>
                    <a:pt x="1747" y="1158"/>
                  </a:lnTo>
                  <a:lnTo>
                    <a:pt x="1755" y="1162"/>
                  </a:lnTo>
                  <a:lnTo>
                    <a:pt x="1762" y="1168"/>
                  </a:lnTo>
                  <a:lnTo>
                    <a:pt x="1770" y="1173"/>
                  </a:lnTo>
                  <a:lnTo>
                    <a:pt x="1777" y="1178"/>
                  </a:lnTo>
                  <a:lnTo>
                    <a:pt x="1783" y="1185"/>
                  </a:lnTo>
                  <a:lnTo>
                    <a:pt x="1790" y="1192"/>
                  </a:lnTo>
                  <a:lnTo>
                    <a:pt x="1796" y="1200"/>
                  </a:lnTo>
                  <a:lnTo>
                    <a:pt x="1807" y="1215"/>
                  </a:lnTo>
                  <a:lnTo>
                    <a:pt x="1816" y="1232"/>
                  </a:lnTo>
                  <a:lnTo>
                    <a:pt x="1824" y="1251"/>
                  </a:lnTo>
                  <a:lnTo>
                    <a:pt x="1830" y="1270"/>
                  </a:lnTo>
                  <a:lnTo>
                    <a:pt x="1836" y="1290"/>
                  </a:lnTo>
                  <a:lnTo>
                    <a:pt x="1839" y="1313"/>
                  </a:lnTo>
                  <a:lnTo>
                    <a:pt x="1841" y="1336"/>
                  </a:lnTo>
                  <a:lnTo>
                    <a:pt x="1842" y="1361"/>
                  </a:lnTo>
                  <a:lnTo>
                    <a:pt x="1841" y="1385"/>
                  </a:lnTo>
                  <a:lnTo>
                    <a:pt x="1839" y="1408"/>
                  </a:lnTo>
                  <a:lnTo>
                    <a:pt x="1836" y="1429"/>
                  </a:lnTo>
                  <a:lnTo>
                    <a:pt x="1830" y="1451"/>
                  </a:lnTo>
                  <a:lnTo>
                    <a:pt x="1824" y="1470"/>
                  </a:lnTo>
                  <a:lnTo>
                    <a:pt x="1816" y="1488"/>
                  </a:lnTo>
                  <a:lnTo>
                    <a:pt x="1807" y="1506"/>
                  </a:lnTo>
                  <a:lnTo>
                    <a:pt x="1796" y="1522"/>
                  </a:lnTo>
                  <a:close/>
                  <a:moveTo>
                    <a:pt x="2653" y="1535"/>
                  </a:moveTo>
                  <a:lnTo>
                    <a:pt x="2661" y="1516"/>
                  </a:lnTo>
                  <a:lnTo>
                    <a:pt x="2669" y="1495"/>
                  </a:lnTo>
                  <a:lnTo>
                    <a:pt x="2674" y="1474"/>
                  </a:lnTo>
                  <a:lnTo>
                    <a:pt x="2679" y="1453"/>
                  </a:lnTo>
                  <a:lnTo>
                    <a:pt x="2684" y="1430"/>
                  </a:lnTo>
                  <a:lnTo>
                    <a:pt x="2686" y="1408"/>
                  </a:lnTo>
                  <a:lnTo>
                    <a:pt x="2688" y="1384"/>
                  </a:lnTo>
                  <a:lnTo>
                    <a:pt x="2688" y="1361"/>
                  </a:lnTo>
                  <a:lnTo>
                    <a:pt x="2688" y="1336"/>
                  </a:lnTo>
                  <a:lnTo>
                    <a:pt x="2686" y="1314"/>
                  </a:lnTo>
                  <a:lnTo>
                    <a:pt x="2684" y="1290"/>
                  </a:lnTo>
                  <a:lnTo>
                    <a:pt x="2679" y="1269"/>
                  </a:lnTo>
                  <a:lnTo>
                    <a:pt x="2674" y="1248"/>
                  </a:lnTo>
                  <a:lnTo>
                    <a:pt x="2668" y="1226"/>
                  </a:lnTo>
                  <a:lnTo>
                    <a:pt x="2661" y="1206"/>
                  </a:lnTo>
                  <a:lnTo>
                    <a:pt x="2653" y="1187"/>
                  </a:lnTo>
                  <a:lnTo>
                    <a:pt x="2643" y="1168"/>
                  </a:lnTo>
                  <a:lnTo>
                    <a:pt x="2632" y="1151"/>
                  </a:lnTo>
                  <a:lnTo>
                    <a:pt x="2622" y="1134"/>
                  </a:lnTo>
                  <a:lnTo>
                    <a:pt x="2609" y="1119"/>
                  </a:lnTo>
                  <a:lnTo>
                    <a:pt x="2596" y="1104"/>
                  </a:lnTo>
                  <a:lnTo>
                    <a:pt x="2582" y="1090"/>
                  </a:lnTo>
                  <a:lnTo>
                    <a:pt x="2566" y="1077"/>
                  </a:lnTo>
                  <a:lnTo>
                    <a:pt x="2550" y="1065"/>
                  </a:lnTo>
                  <a:lnTo>
                    <a:pt x="2534" y="1056"/>
                  </a:lnTo>
                  <a:lnTo>
                    <a:pt x="2516" y="1046"/>
                  </a:lnTo>
                  <a:lnTo>
                    <a:pt x="2498" y="1039"/>
                  </a:lnTo>
                  <a:lnTo>
                    <a:pt x="2479" y="1032"/>
                  </a:lnTo>
                  <a:lnTo>
                    <a:pt x="2459" y="1027"/>
                  </a:lnTo>
                  <a:lnTo>
                    <a:pt x="2438" y="1024"/>
                  </a:lnTo>
                  <a:lnTo>
                    <a:pt x="2416" y="1021"/>
                  </a:lnTo>
                  <a:lnTo>
                    <a:pt x="2394" y="1021"/>
                  </a:lnTo>
                  <a:lnTo>
                    <a:pt x="2372" y="1021"/>
                  </a:lnTo>
                  <a:lnTo>
                    <a:pt x="2350" y="1024"/>
                  </a:lnTo>
                  <a:lnTo>
                    <a:pt x="2330" y="1027"/>
                  </a:lnTo>
                  <a:lnTo>
                    <a:pt x="2310" y="1032"/>
                  </a:lnTo>
                  <a:lnTo>
                    <a:pt x="2291" y="1039"/>
                  </a:lnTo>
                  <a:lnTo>
                    <a:pt x="2273" y="1046"/>
                  </a:lnTo>
                  <a:lnTo>
                    <a:pt x="2256" y="1056"/>
                  </a:lnTo>
                  <a:lnTo>
                    <a:pt x="2240" y="1065"/>
                  </a:lnTo>
                  <a:lnTo>
                    <a:pt x="2230" y="1073"/>
                  </a:lnTo>
                  <a:lnTo>
                    <a:pt x="2222" y="1080"/>
                  </a:lnTo>
                  <a:lnTo>
                    <a:pt x="2213" y="1089"/>
                  </a:lnTo>
                  <a:lnTo>
                    <a:pt x="2205" y="1097"/>
                  </a:lnTo>
                  <a:lnTo>
                    <a:pt x="2205" y="1039"/>
                  </a:lnTo>
                  <a:lnTo>
                    <a:pt x="2094" y="1039"/>
                  </a:lnTo>
                  <a:lnTo>
                    <a:pt x="2094" y="1970"/>
                  </a:lnTo>
                  <a:lnTo>
                    <a:pt x="2219" y="1970"/>
                  </a:lnTo>
                  <a:lnTo>
                    <a:pt x="2219" y="1637"/>
                  </a:lnTo>
                  <a:lnTo>
                    <a:pt x="2229" y="1648"/>
                  </a:lnTo>
                  <a:lnTo>
                    <a:pt x="2241" y="1657"/>
                  </a:lnTo>
                  <a:lnTo>
                    <a:pt x="2257" y="1667"/>
                  </a:lnTo>
                  <a:lnTo>
                    <a:pt x="2274" y="1677"/>
                  </a:lnTo>
                  <a:lnTo>
                    <a:pt x="2292" y="1684"/>
                  </a:lnTo>
                  <a:lnTo>
                    <a:pt x="2311" y="1691"/>
                  </a:lnTo>
                  <a:lnTo>
                    <a:pt x="2332" y="1696"/>
                  </a:lnTo>
                  <a:lnTo>
                    <a:pt x="2352" y="1699"/>
                  </a:lnTo>
                  <a:lnTo>
                    <a:pt x="2374" y="1701"/>
                  </a:lnTo>
                  <a:lnTo>
                    <a:pt x="2397" y="1701"/>
                  </a:lnTo>
                  <a:lnTo>
                    <a:pt x="2419" y="1701"/>
                  </a:lnTo>
                  <a:lnTo>
                    <a:pt x="2440" y="1699"/>
                  </a:lnTo>
                  <a:lnTo>
                    <a:pt x="2461" y="1696"/>
                  </a:lnTo>
                  <a:lnTo>
                    <a:pt x="2480" y="1691"/>
                  </a:lnTo>
                  <a:lnTo>
                    <a:pt x="2499" y="1684"/>
                  </a:lnTo>
                  <a:lnTo>
                    <a:pt x="2517" y="1677"/>
                  </a:lnTo>
                  <a:lnTo>
                    <a:pt x="2535" y="1667"/>
                  </a:lnTo>
                  <a:lnTo>
                    <a:pt x="2552" y="1657"/>
                  </a:lnTo>
                  <a:lnTo>
                    <a:pt x="2567" y="1646"/>
                  </a:lnTo>
                  <a:lnTo>
                    <a:pt x="2582" y="1633"/>
                  </a:lnTo>
                  <a:lnTo>
                    <a:pt x="2597" y="1619"/>
                  </a:lnTo>
                  <a:lnTo>
                    <a:pt x="2610" y="1604"/>
                  </a:lnTo>
                  <a:lnTo>
                    <a:pt x="2622" y="1588"/>
                  </a:lnTo>
                  <a:lnTo>
                    <a:pt x="2633" y="1571"/>
                  </a:lnTo>
                  <a:lnTo>
                    <a:pt x="2643" y="1554"/>
                  </a:lnTo>
                  <a:lnTo>
                    <a:pt x="2653" y="1535"/>
                  </a:lnTo>
                  <a:close/>
                  <a:moveTo>
                    <a:pt x="2478" y="1558"/>
                  </a:moveTo>
                  <a:lnTo>
                    <a:pt x="2478" y="1558"/>
                  </a:lnTo>
                  <a:lnTo>
                    <a:pt x="2468" y="1566"/>
                  </a:lnTo>
                  <a:lnTo>
                    <a:pt x="2458" y="1572"/>
                  </a:lnTo>
                  <a:lnTo>
                    <a:pt x="2446" y="1578"/>
                  </a:lnTo>
                  <a:lnTo>
                    <a:pt x="2434" y="1582"/>
                  </a:lnTo>
                  <a:lnTo>
                    <a:pt x="2421" y="1585"/>
                  </a:lnTo>
                  <a:lnTo>
                    <a:pt x="2407" y="1587"/>
                  </a:lnTo>
                  <a:lnTo>
                    <a:pt x="2394" y="1588"/>
                  </a:lnTo>
                  <a:lnTo>
                    <a:pt x="2380" y="1589"/>
                  </a:lnTo>
                  <a:lnTo>
                    <a:pt x="2364" y="1588"/>
                  </a:lnTo>
                  <a:lnTo>
                    <a:pt x="2350" y="1587"/>
                  </a:lnTo>
                  <a:lnTo>
                    <a:pt x="2336" y="1585"/>
                  </a:lnTo>
                  <a:lnTo>
                    <a:pt x="2323" y="1582"/>
                  </a:lnTo>
                  <a:lnTo>
                    <a:pt x="2311" y="1578"/>
                  </a:lnTo>
                  <a:lnTo>
                    <a:pt x="2300" y="1572"/>
                  </a:lnTo>
                  <a:lnTo>
                    <a:pt x="2289" y="1567"/>
                  </a:lnTo>
                  <a:lnTo>
                    <a:pt x="2279" y="1559"/>
                  </a:lnTo>
                  <a:lnTo>
                    <a:pt x="2270" y="1552"/>
                  </a:lnTo>
                  <a:lnTo>
                    <a:pt x="2261" y="1543"/>
                  </a:lnTo>
                  <a:lnTo>
                    <a:pt x="2253" y="1535"/>
                  </a:lnTo>
                  <a:lnTo>
                    <a:pt x="2245" y="1525"/>
                  </a:lnTo>
                  <a:lnTo>
                    <a:pt x="2239" y="1515"/>
                  </a:lnTo>
                  <a:lnTo>
                    <a:pt x="2232" y="1504"/>
                  </a:lnTo>
                  <a:lnTo>
                    <a:pt x="2227" y="1491"/>
                  </a:lnTo>
                  <a:lnTo>
                    <a:pt x="2222" y="1479"/>
                  </a:lnTo>
                  <a:lnTo>
                    <a:pt x="2218" y="1467"/>
                  </a:lnTo>
                  <a:lnTo>
                    <a:pt x="2214" y="1453"/>
                  </a:lnTo>
                  <a:lnTo>
                    <a:pt x="2211" y="1439"/>
                  </a:lnTo>
                  <a:lnTo>
                    <a:pt x="2209" y="1424"/>
                  </a:lnTo>
                  <a:lnTo>
                    <a:pt x="2207" y="1409"/>
                  </a:lnTo>
                  <a:lnTo>
                    <a:pt x="2206" y="1393"/>
                  </a:lnTo>
                  <a:lnTo>
                    <a:pt x="2205" y="1377"/>
                  </a:lnTo>
                  <a:lnTo>
                    <a:pt x="2205" y="1361"/>
                  </a:lnTo>
                  <a:lnTo>
                    <a:pt x="2205" y="1345"/>
                  </a:lnTo>
                  <a:lnTo>
                    <a:pt x="2206" y="1329"/>
                  </a:lnTo>
                  <a:lnTo>
                    <a:pt x="2207" y="1313"/>
                  </a:lnTo>
                  <a:lnTo>
                    <a:pt x="2209" y="1298"/>
                  </a:lnTo>
                  <a:lnTo>
                    <a:pt x="2211" y="1283"/>
                  </a:lnTo>
                  <a:lnTo>
                    <a:pt x="2214" y="1269"/>
                  </a:lnTo>
                  <a:lnTo>
                    <a:pt x="2219" y="1255"/>
                  </a:lnTo>
                  <a:lnTo>
                    <a:pt x="2223" y="1242"/>
                  </a:lnTo>
                  <a:lnTo>
                    <a:pt x="2227" y="1230"/>
                  </a:lnTo>
                  <a:lnTo>
                    <a:pt x="2232" y="1218"/>
                  </a:lnTo>
                  <a:lnTo>
                    <a:pt x="2239" y="1207"/>
                  </a:lnTo>
                  <a:lnTo>
                    <a:pt x="2245" y="1196"/>
                  </a:lnTo>
                  <a:lnTo>
                    <a:pt x="2253" y="1187"/>
                  </a:lnTo>
                  <a:lnTo>
                    <a:pt x="2261" y="1178"/>
                  </a:lnTo>
                  <a:lnTo>
                    <a:pt x="2270" y="1170"/>
                  </a:lnTo>
                  <a:lnTo>
                    <a:pt x="2278" y="1162"/>
                  </a:lnTo>
                  <a:lnTo>
                    <a:pt x="2288" y="1156"/>
                  </a:lnTo>
                  <a:lnTo>
                    <a:pt x="2299" y="1150"/>
                  </a:lnTo>
                  <a:lnTo>
                    <a:pt x="2310" y="1145"/>
                  </a:lnTo>
                  <a:lnTo>
                    <a:pt x="2322" y="1141"/>
                  </a:lnTo>
                  <a:lnTo>
                    <a:pt x="2334" y="1138"/>
                  </a:lnTo>
                  <a:lnTo>
                    <a:pt x="2347" y="1136"/>
                  </a:lnTo>
                  <a:lnTo>
                    <a:pt x="2360" y="1135"/>
                  </a:lnTo>
                  <a:lnTo>
                    <a:pt x="2375" y="1134"/>
                  </a:lnTo>
                  <a:lnTo>
                    <a:pt x="2390" y="1135"/>
                  </a:lnTo>
                  <a:lnTo>
                    <a:pt x="2404" y="1136"/>
                  </a:lnTo>
                  <a:lnTo>
                    <a:pt x="2418" y="1138"/>
                  </a:lnTo>
                  <a:lnTo>
                    <a:pt x="2432" y="1142"/>
                  </a:lnTo>
                  <a:lnTo>
                    <a:pt x="2444" y="1146"/>
                  </a:lnTo>
                  <a:lnTo>
                    <a:pt x="2455" y="1151"/>
                  </a:lnTo>
                  <a:lnTo>
                    <a:pt x="2467" y="1157"/>
                  </a:lnTo>
                  <a:lnTo>
                    <a:pt x="2477" y="1164"/>
                  </a:lnTo>
                  <a:lnTo>
                    <a:pt x="2486" y="1172"/>
                  </a:lnTo>
                  <a:lnTo>
                    <a:pt x="2496" y="1180"/>
                  </a:lnTo>
                  <a:lnTo>
                    <a:pt x="2504" y="1190"/>
                  </a:lnTo>
                  <a:lnTo>
                    <a:pt x="2512" y="1200"/>
                  </a:lnTo>
                  <a:lnTo>
                    <a:pt x="2519" y="1210"/>
                  </a:lnTo>
                  <a:lnTo>
                    <a:pt x="2526" y="1222"/>
                  </a:lnTo>
                  <a:lnTo>
                    <a:pt x="2531" y="1234"/>
                  </a:lnTo>
                  <a:lnTo>
                    <a:pt x="2536" y="1247"/>
                  </a:lnTo>
                  <a:lnTo>
                    <a:pt x="2541" y="1259"/>
                  </a:lnTo>
                  <a:lnTo>
                    <a:pt x="2545" y="1272"/>
                  </a:lnTo>
                  <a:lnTo>
                    <a:pt x="2548" y="1286"/>
                  </a:lnTo>
                  <a:lnTo>
                    <a:pt x="2551" y="1300"/>
                  </a:lnTo>
                  <a:lnTo>
                    <a:pt x="2554" y="1315"/>
                  </a:lnTo>
                  <a:lnTo>
                    <a:pt x="2555" y="1330"/>
                  </a:lnTo>
                  <a:lnTo>
                    <a:pt x="2556" y="1345"/>
                  </a:lnTo>
                  <a:lnTo>
                    <a:pt x="2556" y="1361"/>
                  </a:lnTo>
                  <a:lnTo>
                    <a:pt x="2556" y="1377"/>
                  </a:lnTo>
                  <a:lnTo>
                    <a:pt x="2555" y="1392"/>
                  </a:lnTo>
                  <a:lnTo>
                    <a:pt x="2554" y="1407"/>
                  </a:lnTo>
                  <a:lnTo>
                    <a:pt x="2551" y="1422"/>
                  </a:lnTo>
                  <a:lnTo>
                    <a:pt x="2548" y="1436"/>
                  </a:lnTo>
                  <a:lnTo>
                    <a:pt x="2545" y="1449"/>
                  </a:lnTo>
                  <a:lnTo>
                    <a:pt x="2541" y="1463"/>
                  </a:lnTo>
                  <a:lnTo>
                    <a:pt x="2536" y="1476"/>
                  </a:lnTo>
                  <a:lnTo>
                    <a:pt x="2531" y="1489"/>
                  </a:lnTo>
                  <a:lnTo>
                    <a:pt x="2526" y="1501"/>
                  </a:lnTo>
                  <a:lnTo>
                    <a:pt x="2519" y="1512"/>
                  </a:lnTo>
                  <a:lnTo>
                    <a:pt x="2512" y="1523"/>
                  </a:lnTo>
                  <a:lnTo>
                    <a:pt x="2504" y="1533"/>
                  </a:lnTo>
                  <a:lnTo>
                    <a:pt x="2496" y="1542"/>
                  </a:lnTo>
                  <a:lnTo>
                    <a:pt x="2487" y="1551"/>
                  </a:lnTo>
                  <a:lnTo>
                    <a:pt x="2478" y="1558"/>
                  </a:lnTo>
                  <a:close/>
                  <a:moveTo>
                    <a:pt x="2932" y="1157"/>
                  </a:moveTo>
                  <a:lnTo>
                    <a:pt x="3227" y="1157"/>
                  </a:lnTo>
                  <a:lnTo>
                    <a:pt x="3227" y="1684"/>
                  </a:lnTo>
                  <a:lnTo>
                    <a:pt x="3350" y="1684"/>
                  </a:lnTo>
                  <a:lnTo>
                    <a:pt x="3350" y="1039"/>
                  </a:lnTo>
                  <a:lnTo>
                    <a:pt x="2807" y="1039"/>
                  </a:lnTo>
                  <a:lnTo>
                    <a:pt x="2807" y="1684"/>
                  </a:lnTo>
                  <a:lnTo>
                    <a:pt x="2932" y="1684"/>
                  </a:lnTo>
                  <a:lnTo>
                    <a:pt x="2932" y="1157"/>
                  </a:lnTo>
                  <a:close/>
                  <a:moveTo>
                    <a:pt x="3954" y="1064"/>
                  </a:moveTo>
                  <a:lnTo>
                    <a:pt x="3936" y="1055"/>
                  </a:lnTo>
                  <a:lnTo>
                    <a:pt x="3917" y="1046"/>
                  </a:lnTo>
                  <a:lnTo>
                    <a:pt x="3896" y="1039"/>
                  </a:lnTo>
                  <a:lnTo>
                    <a:pt x="3876" y="1032"/>
                  </a:lnTo>
                  <a:lnTo>
                    <a:pt x="3855" y="1027"/>
                  </a:lnTo>
                  <a:lnTo>
                    <a:pt x="3832" y="1024"/>
                  </a:lnTo>
                  <a:lnTo>
                    <a:pt x="3810" y="1021"/>
                  </a:lnTo>
                  <a:lnTo>
                    <a:pt x="3785" y="1021"/>
                  </a:lnTo>
                  <a:lnTo>
                    <a:pt x="3762" y="1021"/>
                  </a:lnTo>
                  <a:lnTo>
                    <a:pt x="3740" y="1024"/>
                  </a:lnTo>
                  <a:lnTo>
                    <a:pt x="3718" y="1027"/>
                  </a:lnTo>
                  <a:lnTo>
                    <a:pt x="3697" y="1032"/>
                  </a:lnTo>
                  <a:lnTo>
                    <a:pt x="3677" y="1037"/>
                  </a:lnTo>
                  <a:lnTo>
                    <a:pt x="3656" y="1045"/>
                  </a:lnTo>
                  <a:lnTo>
                    <a:pt x="3638" y="1053"/>
                  </a:lnTo>
                  <a:lnTo>
                    <a:pt x="3620" y="1064"/>
                  </a:lnTo>
                  <a:lnTo>
                    <a:pt x="3603" y="1075"/>
                  </a:lnTo>
                  <a:lnTo>
                    <a:pt x="3586" y="1088"/>
                  </a:lnTo>
                  <a:lnTo>
                    <a:pt x="3571" y="1100"/>
                  </a:lnTo>
                  <a:lnTo>
                    <a:pt x="3557" y="1115"/>
                  </a:lnTo>
                  <a:lnTo>
                    <a:pt x="3543" y="1130"/>
                  </a:lnTo>
                  <a:lnTo>
                    <a:pt x="3532" y="1147"/>
                  </a:lnTo>
                  <a:lnTo>
                    <a:pt x="3520" y="1164"/>
                  </a:lnTo>
                  <a:lnTo>
                    <a:pt x="3509" y="1184"/>
                  </a:lnTo>
                  <a:lnTo>
                    <a:pt x="3501" y="1203"/>
                  </a:lnTo>
                  <a:lnTo>
                    <a:pt x="3492" y="1223"/>
                  </a:lnTo>
                  <a:lnTo>
                    <a:pt x="3486" y="1245"/>
                  </a:lnTo>
                  <a:lnTo>
                    <a:pt x="3480" y="1266"/>
                  </a:lnTo>
                  <a:lnTo>
                    <a:pt x="3476" y="1288"/>
                  </a:lnTo>
                  <a:lnTo>
                    <a:pt x="3473" y="1312"/>
                  </a:lnTo>
                  <a:lnTo>
                    <a:pt x="3471" y="1336"/>
                  </a:lnTo>
                  <a:lnTo>
                    <a:pt x="3470" y="1361"/>
                  </a:lnTo>
                  <a:lnTo>
                    <a:pt x="3471" y="1385"/>
                  </a:lnTo>
                  <a:lnTo>
                    <a:pt x="3473" y="1410"/>
                  </a:lnTo>
                  <a:lnTo>
                    <a:pt x="3475" y="1432"/>
                  </a:lnTo>
                  <a:lnTo>
                    <a:pt x="3479" y="1455"/>
                  </a:lnTo>
                  <a:lnTo>
                    <a:pt x="3485" y="1477"/>
                  </a:lnTo>
                  <a:lnTo>
                    <a:pt x="3492" y="1499"/>
                  </a:lnTo>
                  <a:lnTo>
                    <a:pt x="3500" y="1519"/>
                  </a:lnTo>
                  <a:lnTo>
                    <a:pt x="3508" y="1538"/>
                  </a:lnTo>
                  <a:lnTo>
                    <a:pt x="3519" y="1556"/>
                  </a:lnTo>
                  <a:lnTo>
                    <a:pt x="3529" y="1574"/>
                  </a:lnTo>
                  <a:lnTo>
                    <a:pt x="3542" y="1590"/>
                  </a:lnTo>
                  <a:lnTo>
                    <a:pt x="3555" y="1606"/>
                  </a:lnTo>
                  <a:lnTo>
                    <a:pt x="3569" y="1621"/>
                  </a:lnTo>
                  <a:lnTo>
                    <a:pt x="3585" y="1634"/>
                  </a:lnTo>
                  <a:lnTo>
                    <a:pt x="3601" y="1647"/>
                  </a:lnTo>
                  <a:lnTo>
                    <a:pt x="3618" y="1659"/>
                  </a:lnTo>
                  <a:lnTo>
                    <a:pt x="3636" y="1668"/>
                  </a:lnTo>
                  <a:lnTo>
                    <a:pt x="3655" y="1677"/>
                  </a:lnTo>
                  <a:lnTo>
                    <a:pt x="3675" y="1684"/>
                  </a:lnTo>
                  <a:lnTo>
                    <a:pt x="3696" y="1691"/>
                  </a:lnTo>
                  <a:lnTo>
                    <a:pt x="3717" y="1696"/>
                  </a:lnTo>
                  <a:lnTo>
                    <a:pt x="3740" y="1699"/>
                  </a:lnTo>
                  <a:lnTo>
                    <a:pt x="3762" y="1701"/>
                  </a:lnTo>
                  <a:lnTo>
                    <a:pt x="3785" y="1701"/>
                  </a:lnTo>
                  <a:lnTo>
                    <a:pt x="3810" y="1701"/>
                  </a:lnTo>
                  <a:lnTo>
                    <a:pt x="3832" y="1699"/>
                  </a:lnTo>
                  <a:lnTo>
                    <a:pt x="3855" y="1696"/>
                  </a:lnTo>
                  <a:lnTo>
                    <a:pt x="3876" y="1691"/>
                  </a:lnTo>
                  <a:lnTo>
                    <a:pt x="3896" y="1685"/>
                  </a:lnTo>
                  <a:lnTo>
                    <a:pt x="3916" y="1678"/>
                  </a:lnTo>
                  <a:lnTo>
                    <a:pt x="3935" y="1668"/>
                  </a:lnTo>
                  <a:lnTo>
                    <a:pt x="3953" y="1659"/>
                  </a:lnTo>
                  <a:lnTo>
                    <a:pt x="3970" y="1647"/>
                  </a:lnTo>
                  <a:lnTo>
                    <a:pt x="3986" y="1635"/>
                  </a:lnTo>
                  <a:lnTo>
                    <a:pt x="4002" y="1621"/>
                  </a:lnTo>
                  <a:lnTo>
                    <a:pt x="4016" y="1607"/>
                  </a:lnTo>
                  <a:lnTo>
                    <a:pt x="4030" y="1591"/>
                  </a:lnTo>
                  <a:lnTo>
                    <a:pt x="4041" y="1574"/>
                  </a:lnTo>
                  <a:lnTo>
                    <a:pt x="4053" y="1557"/>
                  </a:lnTo>
                  <a:lnTo>
                    <a:pt x="4063" y="1538"/>
                  </a:lnTo>
                  <a:lnTo>
                    <a:pt x="4072" y="1519"/>
                  </a:lnTo>
                  <a:lnTo>
                    <a:pt x="4080" y="1499"/>
                  </a:lnTo>
                  <a:lnTo>
                    <a:pt x="4087" y="1477"/>
                  </a:lnTo>
                  <a:lnTo>
                    <a:pt x="4093" y="1456"/>
                  </a:lnTo>
                  <a:lnTo>
                    <a:pt x="4097" y="1433"/>
                  </a:lnTo>
                  <a:lnTo>
                    <a:pt x="4100" y="1410"/>
                  </a:lnTo>
                  <a:lnTo>
                    <a:pt x="4101" y="1385"/>
                  </a:lnTo>
                  <a:lnTo>
                    <a:pt x="4102" y="1361"/>
                  </a:lnTo>
                  <a:lnTo>
                    <a:pt x="4101" y="1336"/>
                  </a:lnTo>
                  <a:lnTo>
                    <a:pt x="4100" y="1313"/>
                  </a:lnTo>
                  <a:lnTo>
                    <a:pt x="4097" y="1289"/>
                  </a:lnTo>
                  <a:lnTo>
                    <a:pt x="4093" y="1267"/>
                  </a:lnTo>
                  <a:lnTo>
                    <a:pt x="4087" y="1246"/>
                  </a:lnTo>
                  <a:lnTo>
                    <a:pt x="4080" y="1224"/>
                  </a:lnTo>
                  <a:lnTo>
                    <a:pt x="4072" y="1204"/>
                  </a:lnTo>
                  <a:lnTo>
                    <a:pt x="4064" y="1185"/>
                  </a:lnTo>
                  <a:lnTo>
                    <a:pt x="4053" y="1167"/>
                  </a:lnTo>
                  <a:lnTo>
                    <a:pt x="4041" y="1148"/>
                  </a:lnTo>
                  <a:lnTo>
                    <a:pt x="4030" y="1132"/>
                  </a:lnTo>
                  <a:lnTo>
                    <a:pt x="4017" y="1116"/>
                  </a:lnTo>
                  <a:lnTo>
                    <a:pt x="4002" y="1102"/>
                  </a:lnTo>
                  <a:lnTo>
                    <a:pt x="3987" y="1089"/>
                  </a:lnTo>
                  <a:lnTo>
                    <a:pt x="3971" y="1076"/>
                  </a:lnTo>
                  <a:lnTo>
                    <a:pt x="3954" y="1064"/>
                  </a:lnTo>
                  <a:close/>
                  <a:moveTo>
                    <a:pt x="3924" y="1522"/>
                  </a:moveTo>
                  <a:lnTo>
                    <a:pt x="3924" y="1522"/>
                  </a:lnTo>
                  <a:lnTo>
                    <a:pt x="3918" y="1530"/>
                  </a:lnTo>
                  <a:lnTo>
                    <a:pt x="3912" y="1536"/>
                  </a:lnTo>
                  <a:lnTo>
                    <a:pt x="3905" y="1543"/>
                  </a:lnTo>
                  <a:lnTo>
                    <a:pt x="3899" y="1549"/>
                  </a:lnTo>
                  <a:lnTo>
                    <a:pt x="3891" y="1555"/>
                  </a:lnTo>
                  <a:lnTo>
                    <a:pt x="3884" y="1559"/>
                  </a:lnTo>
                  <a:lnTo>
                    <a:pt x="3875" y="1565"/>
                  </a:lnTo>
                  <a:lnTo>
                    <a:pt x="3867" y="1569"/>
                  </a:lnTo>
                  <a:lnTo>
                    <a:pt x="3858" y="1572"/>
                  </a:lnTo>
                  <a:lnTo>
                    <a:pt x="3848" y="1575"/>
                  </a:lnTo>
                  <a:lnTo>
                    <a:pt x="3839" y="1579"/>
                  </a:lnTo>
                  <a:lnTo>
                    <a:pt x="3829" y="1581"/>
                  </a:lnTo>
                  <a:lnTo>
                    <a:pt x="3808" y="1583"/>
                  </a:lnTo>
                  <a:lnTo>
                    <a:pt x="3785" y="1584"/>
                  </a:lnTo>
                  <a:lnTo>
                    <a:pt x="3764" y="1583"/>
                  </a:lnTo>
                  <a:lnTo>
                    <a:pt x="3744" y="1581"/>
                  </a:lnTo>
                  <a:lnTo>
                    <a:pt x="3734" y="1579"/>
                  </a:lnTo>
                  <a:lnTo>
                    <a:pt x="3725" y="1575"/>
                  </a:lnTo>
                  <a:lnTo>
                    <a:pt x="3715" y="1572"/>
                  </a:lnTo>
                  <a:lnTo>
                    <a:pt x="3707" y="1569"/>
                  </a:lnTo>
                  <a:lnTo>
                    <a:pt x="3698" y="1565"/>
                  </a:lnTo>
                  <a:lnTo>
                    <a:pt x="3691" y="1560"/>
                  </a:lnTo>
                  <a:lnTo>
                    <a:pt x="3682" y="1555"/>
                  </a:lnTo>
                  <a:lnTo>
                    <a:pt x="3676" y="1550"/>
                  </a:lnTo>
                  <a:lnTo>
                    <a:pt x="3668" y="1544"/>
                  </a:lnTo>
                  <a:lnTo>
                    <a:pt x="3662" y="1538"/>
                  </a:lnTo>
                  <a:lnTo>
                    <a:pt x="3655" y="1531"/>
                  </a:lnTo>
                  <a:lnTo>
                    <a:pt x="3649" y="1523"/>
                  </a:lnTo>
                  <a:lnTo>
                    <a:pt x="3638" y="1507"/>
                  </a:lnTo>
                  <a:lnTo>
                    <a:pt x="3629" y="1490"/>
                  </a:lnTo>
                  <a:lnTo>
                    <a:pt x="3621" y="1472"/>
                  </a:lnTo>
                  <a:lnTo>
                    <a:pt x="3614" y="1453"/>
                  </a:lnTo>
                  <a:lnTo>
                    <a:pt x="3609" y="1431"/>
                  </a:lnTo>
                  <a:lnTo>
                    <a:pt x="3605" y="1409"/>
                  </a:lnTo>
                  <a:lnTo>
                    <a:pt x="3603" y="1385"/>
                  </a:lnTo>
                  <a:lnTo>
                    <a:pt x="3603" y="1361"/>
                  </a:lnTo>
                  <a:lnTo>
                    <a:pt x="3603" y="1345"/>
                  </a:lnTo>
                  <a:lnTo>
                    <a:pt x="3604" y="1329"/>
                  </a:lnTo>
                  <a:lnTo>
                    <a:pt x="3605" y="1314"/>
                  </a:lnTo>
                  <a:lnTo>
                    <a:pt x="3607" y="1299"/>
                  </a:lnTo>
                  <a:lnTo>
                    <a:pt x="3611" y="1285"/>
                  </a:lnTo>
                  <a:lnTo>
                    <a:pt x="3614" y="1271"/>
                  </a:lnTo>
                  <a:lnTo>
                    <a:pt x="3618" y="1258"/>
                  </a:lnTo>
                  <a:lnTo>
                    <a:pt x="3622" y="1246"/>
                  </a:lnTo>
                  <a:lnTo>
                    <a:pt x="3628" y="1233"/>
                  </a:lnTo>
                  <a:lnTo>
                    <a:pt x="3634" y="1222"/>
                  </a:lnTo>
                  <a:lnTo>
                    <a:pt x="3640" y="1211"/>
                  </a:lnTo>
                  <a:lnTo>
                    <a:pt x="3647" y="1201"/>
                  </a:lnTo>
                  <a:lnTo>
                    <a:pt x="3655" y="1191"/>
                  </a:lnTo>
                  <a:lnTo>
                    <a:pt x="3664" y="1183"/>
                  </a:lnTo>
                  <a:lnTo>
                    <a:pt x="3672" y="1174"/>
                  </a:lnTo>
                  <a:lnTo>
                    <a:pt x="3683" y="1167"/>
                  </a:lnTo>
                  <a:lnTo>
                    <a:pt x="3693" y="1160"/>
                  </a:lnTo>
                  <a:lnTo>
                    <a:pt x="3704" y="1155"/>
                  </a:lnTo>
                  <a:lnTo>
                    <a:pt x="3716" y="1150"/>
                  </a:lnTo>
                  <a:lnTo>
                    <a:pt x="3729" y="1145"/>
                  </a:lnTo>
                  <a:lnTo>
                    <a:pt x="3742" y="1143"/>
                  </a:lnTo>
                  <a:lnTo>
                    <a:pt x="3756" y="1140"/>
                  </a:lnTo>
                  <a:lnTo>
                    <a:pt x="3771" y="1139"/>
                  </a:lnTo>
                  <a:lnTo>
                    <a:pt x="3785" y="1139"/>
                  </a:lnTo>
                  <a:lnTo>
                    <a:pt x="3808" y="1140"/>
                  </a:lnTo>
                  <a:lnTo>
                    <a:pt x="3829" y="1142"/>
                  </a:lnTo>
                  <a:lnTo>
                    <a:pt x="3839" y="1144"/>
                  </a:lnTo>
                  <a:lnTo>
                    <a:pt x="3848" y="1147"/>
                  </a:lnTo>
                  <a:lnTo>
                    <a:pt x="3857" y="1151"/>
                  </a:lnTo>
                  <a:lnTo>
                    <a:pt x="3865" y="1154"/>
                  </a:lnTo>
                  <a:lnTo>
                    <a:pt x="3874" y="1158"/>
                  </a:lnTo>
                  <a:lnTo>
                    <a:pt x="3883" y="1162"/>
                  </a:lnTo>
                  <a:lnTo>
                    <a:pt x="3890" y="1168"/>
                  </a:lnTo>
                  <a:lnTo>
                    <a:pt x="3897" y="1173"/>
                  </a:lnTo>
                  <a:lnTo>
                    <a:pt x="3905" y="1178"/>
                  </a:lnTo>
                  <a:lnTo>
                    <a:pt x="3911" y="1185"/>
                  </a:lnTo>
                  <a:lnTo>
                    <a:pt x="3918" y="1192"/>
                  </a:lnTo>
                  <a:lnTo>
                    <a:pt x="3923" y="1200"/>
                  </a:lnTo>
                  <a:lnTo>
                    <a:pt x="3934" y="1215"/>
                  </a:lnTo>
                  <a:lnTo>
                    <a:pt x="3943" y="1232"/>
                  </a:lnTo>
                  <a:lnTo>
                    <a:pt x="3952" y="1251"/>
                  </a:lnTo>
                  <a:lnTo>
                    <a:pt x="3958" y="1270"/>
                  </a:lnTo>
                  <a:lnTo>
                    <a:pt x="3964" y="1290"/>
                  </a:lnTo>
                  <a:lnTo>
                    <a:pt x="3967" y="1313"/>
                  </a:lnTo>
                  <a:lnTo>
                    <a:pt x="3969" y="1336"/>
                  </a:lnTo>
                  <a:lnTo>
                    <a:pt x="3970" y="1361"/>
                  </a:lnTo>
                  <a:lnTo>
                    <a:pt x="3969" y="1385"/>
                  </a:lnTo>
                  <a:lnTo>
                    <a:pt x="3967" y="1408"/>
                  </a:lnTo>
                  <a:lnTo>
                    <a:pt x="3964" y="1429"/>
                  </a:lnTo>
                  <a:lnTo>
                    <a:pt x="3958" y="1451"/>
                  </a:lnTo>
                  <a:lnTo>
                    <a:pt x="3952" y="1470"/>
                  </a:lnTo>
                  <a:lnTo>
                    <a:pt x="3944" y="1488"/>
                  </a:lnTo>
                  <a:lnTo>
                    <a:pt x="3935" y="1506"/>
                  </a:lnTo>
                  <a:lnTo>
                    <a:pt x="3924" y="1522"/>
                  </a:lnTo>
                  <a:close/>
                  <a:moveTo>
                    <a:pt x="4678" y="1065"/>
                  </a:moveTo>
                  <a:lnTo>
                    <a:pt x="4661" y="1056"/>
                  </a:lnTo>
                  <a:lnTo>
                    <a:pt x="4644" y="1046"/>
                  </a:lnTo>
                  <a:lnTo>
                    <a:pt x="4625" y="1039"/>
                  </a:lnTo>
                  <a:lnTo>
                    <a:pt x="4606" y="1032"/>
                  </a:lnTo>
                  <a:lnTo>
                    <a:pt x="4586" y="1027"/>
                  </a:lnTo>
                  <a:lnTo>
                    <a:pt x="4565" y="1024"/>
                  </a:lnTo>
                  <a:lnTo>
                    <a:pt x="4544" y="1021"/>
                  </a:lnTo>
                  <a:lnTo>
                    <a:pt x="4521" y="1021"/>
                  </a:lnTo>
                  <a:lnTo>
                    <a:pt x="4499" y="1021"/>
                  </a:lnTo>
                  <a:lnTo>
                    <a:pt x="4478" y="1024"/>
                  </a:lnTo>
                  <a:lnTo>
                    <a:pt x="4457" y="1027"/>
                  </a:lnTo>
                  <a:lnTo>
                    <a:pt x="4437" y="1032"/>
                  </a:lnTo>
                  <a:lnTo>
                    <a:pt x="4419" y="1039"/>
                  </a:lnTo>
                  <a:lnTo>
                    <a:pt x="4401" y="1046"/>
                  </a:lnTo>
                  <a:lnTo>
                    <a:pt x="4384" y="1056"/>
                  </a:lnTo>
                  <a:lnTo>
                    <a:pt x="4368" y="1065"/>
                  </a:lnTo>
                  <a:lnTo>
                    <a:pt x="4358" y="1073"/>
                  </a:lnTo>
                  <a:lnTo>
                    <a:pt x="4350" y="1080"/>
                  </a:lnTo>
                  <a:lnTo>
                    <a:pt x="4340" y="1089"/>
                  </a:lnTo>
                  <a:lnTo>
                    <a:pt x="4332" y="1097"/>
                  </a:lnTo>
                  <a:lnTo>
                    <a:pt x="4332" y="1039"/>
                  </a:lnTo>
                  <a:lnTo>
                    <a:pt x="4221" y="1039"/>
                  </a:lnTo>
                  <a:lnTo>
                    <a:pt x="4221" y="1970"/>
                  </a:lnTo>
                  <a:lnTo>
                    <a:pt x="4346" y="1970"/>
                  </a:lnTo>
                  <a:lnTo>
                    <a:pt x="4346" y="1637"/>
                  </a:lnTo>
                  <a:lnTo>
                    <a:pt x="4357" y="1648"/>
                  </a:lnTo>
                  <a:lnTo>
                    <a:pt x="4369" y="1657"/>
                  </a:lnTo>
                  <a:lnTo>
                    <a:pt x="4385" y="1667"/>
                  </a:lnTo>
                  <a:lnTo>
                    <a:pt x="4402" y="1677"/>
                  </a:lnTo>
                  <a:lnTo>
                    <a:pt x="4420" y="1684"/>
                  </a:lnTo>
                  <a:lnTo>
                    <a:pt x="4439" y="1691"/>
                  </a:lnTo>
                  <a:lnTo>
                    <a:pt x="4458" y="1696"/>
                  </a:lnTo>
                  <a:lnTo>
                    <a:pt x="4480" y="1699"/>
                  </a:lnTo>
                  <a:lnTo>
                    <a:pt x="4501" y="1701"/>
                  </a:lnTo>
                  <a:lnTo>
                    <a:pt x="4525" y="1701"/>
                  </a:lnTo>
                  <a:lnTo>
                    <a:pt x="4546" y="1701"/>
                  </a:lnTo>
                  <a:lnTo>
                    <a:pt x="4567" y="1699"/>
                  </a:lnTo>
                  <a:lnTo>
                    <a:pt x="4589" y="1696"/>
                  </a:lnTo>
                  <a:lnTo>
                    <a:pt x="4608" y="1691"/>
                  </a:lnTo>
                  <a:lnTo>
                    <a:pt x="4627" y="1684"/>
                  </a:lnTo>
                  <a:lnTo>
                    <a:pt x="4645" y="1677"/>
                  </a:lnTo>
                  <a:lnTo>
                    <a:pt x="4663" y="1667"/>
                  </a:lnTo>
                  <a:lnTo>
                    <a:pt x="4679" y="1657"/>
                  </a:lnTo>
                  <a:lnTo>
                    <a:pt x="4695" y="1646"/>
                  </a:lnTo>
                  <a:lnTo>
                    <a:pt x="4710" y="1633"/>
                  </a:lnTo>
                  <a:lnTo>
                    <a:pt x="4724" y="1619"/>
                  </a:lnTo>
                  <a:lnTo>
                    <a:pt x="4738" y="1604"/>
                  </a:lnTo>
                  <a:lnTo>
                    <a:pt x="4750" y="1588"/>
                  </a:lnTo>
                  <a:lnTo>
                    <a:pt x="4760" y="1571"/>
                  </a:lnTo>
                  <a:lnTo>
                    <a:pt x="4771" y="1554"/>
                  </a:lnTo>
                  <a:lnTo>
                    <a:pt x="4781" y="1535"/>
                  </a:lnTo>
                  <a:lnTo>
                    <a:pt x="4789" y="1516"/>
                  </a:lnTo>
                  <a:lnTo>
                    <a:pt x="4796" y="1495"/>
                  </a:lnTo>
                  <a:lnTo>
                    <a:pt x="4802" y="1474"/>
                  </a:lnTo>
                  <a:lnTo>
                    <a:pt x="4807" y="1453"/>
                  </a:lnTo>
                  <a:lnTo>
                    <a:pt x="4810" y="1430"/>
                  </a:lnTo>
                  <a:lnTo>
                    <a:pt x="4814" y="1408"/>
                  </a:lnTo>
                  <a:lnTo>
                    <a:pt x="4816" y="1384"/>
                  </a:lnTo>
                  <a:lnTo>
                    <a:pt x="4816" y="1361"/>
                  </a:lnTo>
                  <a:lnTo>
                    <a:pt x="4816" y="1336"/>
                  </a:lnTo>
                  <a:lnTo>
                    <a:pt x="4814" y="1314"/>
                  </a:lnTo>
                  <a:lnTo>
                    <a:pt x="4810" y="1290"/>
                  </a:lnTo>
                  <a:lnTo>
                    <a:pt x="4807" y="1269"/>
                  </a:lnTo>
                  <a:lnTo>
                    <a:pt x="4802" y="1248"/>
                  </a:lnTo>
                  <a:lnTo>
                    <a:pt x="4796" y="1226"/>
                  </a:lnTo>
                  <a:lnTo>
                    <a:pt x="4788" y="1206"/>
                  </a:lnTo>
                  <a:lnTo>
                    <a:pt x="4781" y="1187"/>
                  </a:lnTo>
                  <a:lnTo>
                    <a:pt x="4771" y="1168"/>
                  </a:lnTo>
                  <a:lnTo>
                    <a:pt x="4760" y="1151"/>
                  </a:lnTo>
                  <a:lnTo>
                    <a:pt x="4749" y="1134"/>
                  </a:lnTo>
                  <a:lnTo>
                    <a:pt x="4737" y="1119"/>
                  </a:lnTo>
                  <a:lnTo>
                    <a:pt x="4724" y="1104"/>
                  </a:lnTo>
                  <a:lnTo>
                    <a:pt x="4709" y="1090"/>
                  </a:lnTo>
                  <a:lnTo>
                    <a:pt x="4694" y="1077"/>
                  </a:lnTo>
                  <a:lnTo>
                    <a:pt x="4678" y="1065"/>
                  </a:lnTo>
                  <a:close/>
                  <a:moveTo>
                    <a:pt x="4664" y="1476"/>
                  </a:moveTo>
                  <a:lnTo>
                    <a:pt x="4664" y="1476"/>
                  </a:lnTo>
                  <a:lnTo>
                    <a:pt x="4659" y="1489"/>
                  </a:lnTo>
                  <a:lnTo>
                    <a:pt x="4653" y="1501"/>
                  </a:lnTo>
                  <a:lnTo>
                    <a:pt x="4646" y="1512"/>
                  </a:lnTo>
                  <a:lnTo>
                    <a:pt x="4640" y="1523"/>
                  </a:lnTo>
                  <a:lnTo>
                    <a:pt x="4632" y="1533"/>
                  </a:lnTo>
                  <a:lnTo>
                    <a:pt x="4624" y="1542"/>
                  </a:lnTo>
                  <a:lnTo>
                    <a:pt x="4615" y="1551"/>
                  </a:lnTo>
                  <a:lnTo>
                    <a:pt x="4606" y="1558"/>
                  </a:lnTo>
                  <a:lnTo>
                    <a:pt x="4595" y="1566"/>
                  </a:lnTo>
                  <a:lnTo>
                    <a:pt x="4584" y="1572"/>
                  </a:lnTo>
                  <a:lnTo>
                    <a:pt x="4574" y="1578"/>
                  </a:lnTo>
                  <a:lnTo>
                    <a:pt x="4561" y="1582"/>
                  </a:lnTo>
                  <a:lnTo>
                    <a:pt x="4549" y="1585"/>
                  </a:lnTo>
                  <a:lnTo>
                    <a:pt x="4535" y="1587"/>
                  </a:lnTo>
                  <a:lnTo>
                    <a:pt x="4521" y="1588"/>
                  </a:lnTo>
                  <a:lnTo>
                    <a:pt x="4506" y="1589"/>
                  </a:lnTo>
                  <a:lnTo>
                    <a:pt x="4492" y="1588"/>
                  </a:lnTo>
                  <a:lnTo>
                    <a:pt x="4478" y="1587"/>
                  </a:lnTo>
                  <a:lnTo>
                    <a:pt x="4464" y="1585"/>
                  </a:lnTo>
                  <a:lnTo>
                    <a:pt x="4451" y="1582"/>
                  </a:lnTo>
                  <a:lnTo>
                    <a:pt x="4439" y="1578"/>
                  </a:lnTo>
                  <a:lnTo>
                    <a:pt x="4428" y="1572"/>
                  </a:lnTo>
                  <a:lnTo>
                    <a:pt x="4417" y="1567"/>
                  </a:lnTo>
                  <a:lnTo>
                    <a:pt x="4406" y="1559"/>
                  </a:lnTo>
                  <a:lnTo>
                    <a:pt x="4397" y="1552"/>
                  </a:lnTo>
                  <a:lnTo>
                    <a:pt x="4388" y="1543"/>
                  </a:lnTo>
                  <a:lnTo>
                    <a:pt x="4381" y="1535"/>
                  </a:lnTo>
                  <a:lnTo>
                    <a:pt x="4373" y="1525"/>
                  </a:lnTo>
                  <a:lnTo>
                    <a:pt x="4366" y="1515"/>
                  </a:lnTo>
                  <a:lnTo>
                    <a:pt x="4360" y="1504"/>
                  </a:lnTo>
                  <a:lnTo>
                    <a:pt x="4355" y="1491"/>
                  </a:lnTo>
                  <a:lnTo>
                    <a:pt x="4350" y="1479"/>
                  </a:lnTo>
                  <a:lnTo>
                    <a:pt x="4345" y="1467"/>
                  </a:lnTo>
                  <a:lnTo>
                    <a:pt x="4342" y="1453"/>
                  </a:lnTo>
                  <a:lnTo>
                    <a:pt x="4339" y="1439"/>
                  </a:lnTo>
                  <a:lnTo>
                    <a:pt x="4336" y="1424"/>
                  </a:lnTo>
                  <a:lnTo>
                    <a:pt x="4335" y="1409"/>
                  </a:lnTo>
                  <a:lnTo>
                    <a:pt x="4333" y="1393"/>
                  </a:lnTo>
                  <a:lnTo>
                    <a:pt x="4333" y="1377"/>
                  </a:lnTo>
                  <a:lnTo>
                    <a:pt x="4332" y="1361"/>
                  </a:lnTo>
                  <a:lnTo>
                    <a:pt x="4333" y="1345"/>
                  </a:lnTo>
                  <a:lnTo>
                    <a:pt x="4333" y="1329"/>
                  </a:lnTo>
                  <a:lnTo>
                    <a:pt x="4335" y="1313"/>
                  </a:lnTo>
                  <a:lnTo>
                    <a:pt x="4337" y="1298"/>
                  </a:lnTo>
                  <a:lnTo>
                    <a:pt x="4339" y="1283"/>
                  </a:lnTo>
                  <a:lnTo>
                    <a:pt x="4342" y="1269"/>
                  </a:lnTo>
                  <a:lnTo>
                    <a:pt x="4345" y="1255"/>
                  </a:lnTo>
                  <a:lnTo>
                    <a:pt x="4350" y="1242"/>
                  </a:lnTo>
                  <a:lnTo>
                    <a:pt x="4355" y="1230"/>
                  </a:lnTo>
                  <a:lnTo>
                    <a:pt x="4360" y="1218"/>
                  </a:lnTo>
                  <a:lnTo>
                    <a:pt x="4367" y="1207"/>
                  </a:lnTo>
                  <a:lnTo>
                    <a:pt x="4373" y="1196"/>
                  </a:lnTo>
                  <a:lnTo>
                    <a:pt x="4381" y="1187"/>
                  </a:lnTo>
                  <a:lnTo>
                    <a:pt x="4388" y="1178"/>
                  </a:lnTo>
                  <a:lnTo>
                    <a:pt x="4397" y="1170"/>
                  </a:lnTo>
                  <a:lnTo>
                    <a:pt x="4406" y="1162"/>
                  </a:lnTo>
                  <a:lnTo>
                    <a:pt x="4416" y="1156"/>
                  </a:lnTo>
                  <a:lnTo>
                    <a:pt x="4426" y="1150"/>
                  </a:lnTo>
                  <a:lnTo>
                    <a:pt x="4437" y="1145"/>
                  </a:lnTo>
                  <a:lnTo>
                    <a:pt x="4449" y="1141"/>
                  </a:lnTo>
                  <a:lnTo>
                    <a:pt x="4462" y="1138"/>
                  </a:lnTo>
                  <a:lnTo>
                    <a:pt x="4474" y="1136"/>
                  </a:lnTo>
                  <a:lnTo>
                    <a:pt x="4488" y="1135"/>
                  </a:lnTo>
                  <a:lnTo>
                    <a:pt x="4502" y="1134"/>
                  </a:lnTo>
                  <a:lnTo>
                    <a:pt x="4518" y="1135"/>
                  </a:lnTo>
                  <a:lnTo>
                    <a:pt x="4532" y="1136"/>
                  </a:lnTo>
                  <a:lnTo>
                    <a:pt x="4546" y="1138"/>
                  </a:lnTo>
                  <a:lnTo>
                    <a:pt x="4559" y="1142"/>
                  </a:lnTo>
                  <a:lnTo>
                    <a:pt x="4572" y="1146"/>
                  </a:lnTo>
                  <a:lnTo>
                    <a:pt x="4583" y="1151"/>
                  </a:lnTo>
                  <a:lnTo>
                    <a:pt x="4594" y="1157"/>
                  </a:lnTo>
                  <a:lnTo>
                    <a:pt x="4605" y="1164"/>
                  </a:lnTo>
                  <a:lnTo>
                    <a:pt x="4614" y="1172"/>
                  </a:lnTo>
                  <a:lnTo>
                    <a:pt x="4624" y="1180"/>
                  </a:lnTo>
                  <a:lnTo>
                    <a:pt x="4631" y="1190"/>
                  </a:lnTo>
                  <a:lnTo>
                    <a:pt x="4640" y="1200"/>
                  </a:lnTo>
                  <a:lnTo>
                    <a:pt x="4646" y="1210"/>
                  </a:lnTo>
                  <a:lnTo>
                    <a:pt x="4653" y="1222"/>
                  </a:lnTo>
                  <a:lnTo>
                    <a:pt x="4659" y="1234"/>
                  </a:lnTo>
                  <a:lnTo>
                    <a:pt x="4664" y="1247"/>
                  </a:lnTo>
                  <a:lnTo>
                    <a:pt x="4669" y="1259"/>
                  </a:lnTo>
                  <a:lnTo>
                    <a:pt x="4673" y="1272"/>
                  </a:lnTo>
                  <a:lnTo>
                    <a:pt x="4676" y="1286"/>
                  </a:lnTo>
                  <a:lnTo>
                    <a:pt x="4678" y="1300"/>
                  </a:lnTo>
                  <a:lnTo>
                    <a:pt x="4680" y="1315"/>
                  </a:lnTo>
                  <a:lnTo>
                    <a:pt x="4682" y="1330"/>
                  </a:lnTo>
                  <a:lnTo>
                    <a:pt x="4684" y="1345"/>
                  </a:lnTo>
                  <a:lnTo>
                    <a:pt x="4684" y="1361"/>
                  </a:lnTo>
                  <a:lnTo>
                    <a:pt x="4684" y="1377"/>
                  </a:lnTo>
                  <a:lnTo>
                    <a:pt x="4682" y="1392"/>
                  </a:lnTo>
                  <a:lnTo>
                    <a:pt x="4680" y="1407"/>
                  </a:lnTo>
                  <a:lnTo>
                    <a:pt x="4678" y="1422"/>
                  </a:lnTo>
                  <a:lnTo>
                    <a:pt x="4676" y="1436"/>
                  </a:lnTo>
                  <a:lnTo>
                    <a:pt x="4673" y="1449"/>
                  </a:lnTo>
                  <a:lnTo>
                    <a:pt x="4669" y="1463"/>
                  </a:lnTo>
                  <a:lnTo>
                    <a:pt x="4664" y="1476"/>
                  </a:lnTo>
                  <a:close/>
                  <a:moveTo>
                    <a:pt x="5438" y="1144"/>
                  </a:moveTo>
                  <a:lnTo>
                    <a:pt x="5429" y="1128"/>
                  </a:lnTo>
                  <a:lnTo>
                    <a:pt x="5421" y="1114"/>
                  </a:lnTo>
                  <a:lnTo>
                    <a:pt x="5410" y="1102"/>
                  </a:lnTo>
                  <a:lnTo>
                    <a:pt x="5399" y="1089"/>
                  </a:lnTo>
                  <a:lnTo>
                    <a:pt x="5386" y="1078"/>
                  </a:lnTo>
                  <a:lnTo>
                    <a:pt x="5374" y="1067"/>
                  </a:lnTo>
                  <a:lnTo>
                    <a:pt x="5359" y="1059"/>
                  </a:lnTo>
                  <a:lnTo>
                    <a:pt x="5343" y="1050"/>
                  </a:lnTo>
                  <a:lnTo>
                    <a:pt x="5327" y="1044"/>
                  </a:lnTo>
                  <a:lnTo>
                    <a:pt x="5310" y="1037"/>
                  </a:lnTo>
                  <a:lnTo>
                    <a:pt x="5292" y="1032"/>
                  </a:lnTo>
                  <a:lnTo>
                    <a:pt x="5273" y="1029"/>
                  </a:lnTo>
                  <a:lnTo>
                    <a:pt x="5254" y="1026"/>
                  </a:lnTo>
                  <a:lnTo>
                    <a:pt x="5234" y="1023"/>
                  </a:lnTo>
                  <a:lnTo>
                    <a:pt x="5214" y="1021"/>
                  </a:lnTo>
                  <a:lnTo>
                    <a:pt x="5192" y="1021"/>
                  </a:lnTo>
                  <a:lnTo>
                    <a:pt x="5166" y="1021"/>
                  </a:lnTo>
                  <a:lnTo>
                    <a:pt x="5139" y="1024"/>
                  </a:lnTo>
                  <a:lnTo>
                    <a:pt x="5116" y="1028"/>
                  </a:lnTo>
                  <a:lnTo>
                    <a:pt x="5092" y="1033"/>
                  </a:lnTo>
                  <a:lnTo>
                    <a:pt x="5071" y="1041"/>
                  </a:lnTo>
                  <a:lnTo>
                    <a:pt x="5050" y="1048"/>
                  </a:lnTo>
                  <a:lnTo>
                    <a:pt x="5031" y="1059"/>
                  </a:lnTo>
                  <a:lnTo>
                    <a:pt x="5014" y="1071"/>
                  </a:lnTo>
                  <a:lnTo>
                    <a:pt x="4997" y="1082"/>
                  </a:lnTo>
                  <a:lnTo>
                    <a:pt x="4983" y="1096"/>
                  </a:lnTo>
                  <a:lnTo>
                    <a:pt x="4969" y="1111"/>
                  </a:lnTo>
                  <a:lnTo>
                    <a:pt x="4958" y="1127"/>
                  </a:lnTo>
                  <a:lnTo>
                    <a:pt x="4947" y="1144"/>
                  </a:lnTo>
                  <a:lnTo>
                    <a:pt x="4937" y="1162"/>
                  </a:lnTo>
                  <a:lnTo>
                    <a:pt x="4929" y="1182"/>
                  </a:lnTo>
                  <a:lnTo>
                    <a:pt x="4922" y="1202"/>
                  </a:lnTo>
                  <a:lnTo>
                    <a:pt x="5039" y="1238"/>
                  </a:lnTo>
                  <a:lnTo>
                    <a:pt x="5044" y="1224"/>
                  </a:lnTo>
                  <a:lnTo>
                    <a:pt x="5049" y="1213"/>
                  </a:lnTo>
                  <a:lnTo>
                    <a:pt x="5055" y="1202"/>
                  </a:lnTo>
                  <a:lnTo>
                    <a:pt x="5062" y="1191"/>
                  </a:lnTo>
                  <a:lnTo>
                    <a:pt x="5070" y="1182"/>
                  </a:lnTo>
                  <a:lnTo>
                    <a:pt x="5078" y="1174"/>
                  </a:lnTo>
                  <a:lnTo>
                    <a:pt x="5088" y="1167"/>
                  </a:lnTo>
                  <a:lnTo>
                    <a:pt x="5098" y="1160"/>
                  </a:lnTo>
                  <a:lnTo>
                    <a:pt x="5109" y="1155"/>
                  </a:lnTo>
                  <a:lnTo>
                    <a:pt x="5120" y="1150"/>
                  </a:lnTo>
                  <a:lnTo>
                    <a:pt x="5132" y="1145"/>
                  </a:lnTo>
                  <a:lnTo>
                    <a:pt x="5142" y="1142"/>
                  </a:lnTo>
                  <a:lnTo>
                    <a:pt x="5154" y="1140"/>
                  </a:lnTo>
                  <a:lnTo>
                    <a:pt x="5167" y="1138"/>
                  </a:lnTo>
                  <a:lnTo>
                    <a:pt x="5178" y="1137"/>
                  </a:lnTo>
                  <a:lnTo>
                    <a:pt x="5191" y="1137"/>
                  </a:lnTo>
                  <a:lnTo>
                    <a:pt x="5210" y="1137"/>
                  </a:lnTo>
                  <a:lnTo>
                    <a:pt x="5229" y="1139"/>
                  </a:lnTo>
                  <a:lnTo>
                    <a:pt x="5245" y="1141"/>
                  </a:lnTo>
                  <a:lnTo>
                    <a:pt x="5260" y="1145"/>
                  </a:lnTo>
                  <a:lnTo>
                    <a:pt x="5273" y="1151"/>
                  </a:lnTo>
                  <a:lnTo>
                    <a:pt x="5285" y="1157"/>
                  </a:lnTo>
                  <a:lnTo>
                    <a:pt x="5296" y="1164"/>
                  </a:lnTo>
                  <a:lnTo>
                    <a:pt x="5305" y="1173"/>
                  </a:lnTo>
                  <a:lnTo>
                    <a:pt x="5312" y="1182"/>
                  </a:lnTo>
                  <a:lnTo>
                    <a:pt x="5318" y="1191"/>
                  </a:lnTo>
                  <a:lnTo>
                    <a:pt x="5322" y="1202"/>
                  </a:lnTo>
                  <a:lnTo>
                    <a:pt x="5327" y="1213"/>
                  </a:lnTo>
                  <a:lnTo>
                    <a:pt x="5331" y="1225"/>
                  </a:lnTo>
                  <a:lnTo>
                    <a:pt x="5333" y="1238"/>
                  </a:lnTo>
                  <a:lnTo>
                    <a:pt x="5335" y="1252"/>
                  </a:lnTo>
                  <a:lnTo>
                    <a:pt x="5336" y="1267"/>
                  </a:lnTo>
                  <a:lnTo>
                    <a:pt x="5318" y="1269"/>
                  </a:lnTo>
                  <a:lnTo>
                    <a:pt x="5300" y="1272"/>
                  </a:lnTo>
                  <a:lnTo>
                    <a:pt x="5282" y="1274"/>
                  </a:lnTo>
                  <a:lnTo>
                    <a:pt x="5263" y="1278"/>
                  </a:lnTo>
                  <a:lnTo>
                    <a:pt x="5234" y="1282"/>
                  </a:lnTo>
                  <a:lnTo>
                    <a:pt x="5205" y="1286"/>
                  </a:lnTo>
                  <a:lnTo>
                    <a:pt x="5176" y="1290"/>
                  </a:lnTo>
                  <a:lnTo>
                    <a:pt x="5149" y="1295"/>
                  </a:lnTo>
                  <a:lnTo>
                    <a:pt x="5123" y="1300"/>
                  </a:lnTo>
                  <a:lnTo>
                    <a:pt x="5097" y="1305"/>
                  </a:lnTo>
                  <a:lnTo>
                    <a:pt x="5074" y="1311"/>
                  </a:lnTo>
                  <a:lnTo>
                    <a:pt x="5052" y="1317"/>
                  </a:lnTo>
                  <a:lnTo>
                    <a:pt x="5028" y="1326"/>
                  </a:lnTo>
                  <a:lnTo>
                    <a:pt x="5006" y="1336"/>
                  </a:lnTo>
                  <a:lnTo>
                    <a:pt x="4986" y="1347"/>
                  </a:lnTo>
                  <a:lnTo>
                    <a:pt x="4968" y="1360"/>
                  </a:lnTo>
                  <a:lnTo>
                    <a:pt x="4960" y="1366"/>
                  </a:lnTo>
                  <a:lnTo>
                    <a:pt x="4952" y="1373"/>
                  </a:lnTo>
                  <a:lnTo>
                    <a:pt x="4945" y="1380"/>
                  </a:lnTo>
                  <a:lnTo>
                    <a:pt x="4938" y="1389"/>
                  </a:lnTo>
                  <a:lnTo>
                    <a:pt x="4932" y="1396"/>
                  </a:lnTo>
                  <a:lnTo>
                    <a:pt x="4927" y="1405"/>
                  </a:lnTo>
                  <a:lnTo>
                    <a:pt x="4921" y="1413"/>
                  </a:lnTo>
                  <a:lnTo>
                    <a:pt x="4917" y="1423"/>
                  </a:lnTo>
                  <a:lnTo>
                    <a:pt x="4913" y="1431"/>
                  </a:lnTo>
                  <a:lnTo>
                    <a:pt x="4910" y="1442"/>
                  </a:lnTo>
                  <a:lnTo>
                    <a:pt x="4906" y="1452"/>
                  </a:lnTo>
                  <a:lnTo>
                    <a:pt x="4904" y="1462"/>
                  </a:lnTo>
                  <a:lnTo>
                    <a:pt x="4902" y="1473"/>
                  </a:lnTo>
                  <a:lnTo>
                    <a:pt x="4900" y="1485"/>
                  </a:lnTo>
                  <a:lnTo>
                    <a:pt x="4900" y="1496"/>
                  </a:lnTo>
                  <a:lnTo>
                    <a:pt x="4899" y="1508"/>
                  </a:lnTo>
                  <a:lnTo>
                    <a:pt x="4900" y="1521"/>
                  </a:lnTo>
                  <a:lnTo>
                    <a:pt x="4901" y="1534"/>
                  </a:lnTo>
                  <a:lnTo>
                    <a:pt x="4903" y="1547"/>
                  </a:lnTo>
                  <a:lnTo>
                    <a:pt x="4905" y="1558"/>
                  </a:lnTo>
                  <a:lnTo>
                    <a:pt x="4909" y="1571"/>
                  </a:lnTo>
                  <a:lnTo>
                    <a:pt x="4913" y="1582"/>
                  </a:lnTo>
                  <a:lnTo>
                    <a:pt x="4918" y="1594"/>
                  </a:lnTo>
                  <a:lnTo>
                    <a:pt x="4925" y="1605"/>
                  </a:lnTo>
                  <a:lnTo>
                    <a:pt x="4931" y="1616"/>
                  </a:lnTo>
                  <a:lnTo>
                    <a:pt x="4938" y="1626"/>
                  </a:lnTo>
                  <a:lnTo>
                    <a:pt x="4946" y="1635"/>
                  </a:lnTo>
                  <a:lnTo>
                    <a:pt x="4954" y="1645"/>
                  </a:lnTo>
                  <a:lnTo>
                    <a:pt x="4964" y="1653"/>
                  </a:lnTo>
                  <a:lnTo>
                    <a:pt x="4975" y="1661"/>
                  </a:lnTo>
                  <a:lnTo>
                    <a:pt x="4985" y="1668"/>
                  </a:lnTo>
                  <a:lnTo>
                    <a:pt x="4997" y="1676"/>
                  </a:lnTo>
                  <a:lnTo>
                    <a:pt x="5010" y="1681"/>
                  </a:lnTo>
                  <a:lnTo>
                    <a:pt x="5023" y="1686"/>
                  </a:lnTo>
                  <a:lnTo>
                    <a:pt x="5037" y="1692"/>
                  </a:lnTo>
                  <a:lnTo>
                    <a:pt x="5052" y="1695"/>
                  </a:lnTo>
                  <a:lnTo>
                    <a:pt x="5066" y="1698"/>
                  </a:lnTo>
                  <a:lnTo>
                    <a:pt x="5082" y="1700"/>
                  </a:lnTo>
                  <a:lnTo>
                    <a:pt x="5100" y="1701"/>
                  </a:lnTo>
                  <a:lnTo>
                    <a:pt x="5118" y="1701"/>
                  </a:lnTo>
                  <a:lnTo>
                    <a:pt x="5139" y="1701"/>
                  </a:lnTo>
                  <a:lnTo>
                    <a:pt x="5160" y="1699"/>
                  </a:lnTo>
                  <a:lnTo>
                    <a:pt x="5181" y="1697"/>
                  </a:lnTo>
                  <a:lnTo>
                    <a:pt x="5200" y="1693"/>
                  </a:lnTo>
                  <a:lnTo>
                    <a:pt x="5219" y="1687"/>
                  </a:lnTo>
                  <a:lnTo>
                    <a:pt x="5236" y="1681"/>
                  </a:lnTo>
                  <a:lnTo>
                    <a:pt x="5253" y="1675"/>
                  </a:lnTo>
                  <a:lnTo>
                    <a:pt x="5269" y="1666"/>
                  </a:lnTo>
                  <a:lnTo>
                    <a:pt x="5281" y="1659"/>
                  </a:lnTo>
                  <a:lnTo>
                    <a:pt x="5292" y="1651"/>
                  </a:lnTo>
                  <a:lnTo>
                    <a:pt x="5302" y="1643"/>
                  </a:lnTo>
                  <a:lnTo>
                    <a:pt x="5313" y="1633"/>
                  </a:lnTo>
                  <a:lnTo>
                    <a:pt x="5322" y="1623"/>
                  </a:lnTo>
                  <a:lnTo>
                    <a:pt x="5332" y="1613"/>
                  </a:lnTo>
                  <a:lnTo>
                    <a:pt x="5341" y="1602"/>
                  </a:lnTo>
                  <a:lnTo>
                    <a:pt x="5349" y="1590"/>
                  </a:lnTo>
                  <a:lnTo>
                    <a:pt x="5349" y="1684"/>
                  </a:lnTo>
                  <a:lnTo>
                    <a:pt x="5460" y="1684"/>
                  </a:lnTo>
                  <a:lnTo>
                    <a:pt x="5460" y="1287"/>
                  </a:lnTo>
                  <a:lnTo>
                    <a:pt x="5460" y="1267"/>
                  </a:lnTo>
                  <a:lnTo>
                    <a:pt x="5459" y="1248"/>
                  </a:lnTo>
                  <a:lnTo>
                    <a:pt x="5458" y="1229"/>
                  </a:lnTo>
                  <a:lnTo>
                    <a:pt x="5456" y="1211"/>
                  </a:lnTo>
                  <a:lnTo>
                    <a:pt x="5454" y="1193"/>
                  </a:lnTo>
                  <a:lnTo>
                    <a:pt x="5449" y="1176"/>
                  </a:lnTo>
                  <a:lnTo>
                    <a:pt x="5444" y="1160"/>
                  </a:lnTo>
                  <a:lnTo>
                    <a:pt x="5438" y="1144"/>
                  </a:lnTo>
                  <a:close/>
                  <a:moveTo>
                    <a:pt x="5322" y="1472"/>
                  </a:moveTo>
                  <a:lnTo>
                    <a:pt x="5322" y="1472"/>
                  </a:lnTo>
                  <a:lnTo>
                    <a:pt x="5318" y="1488"/>
                  </a:lnTo>
                  <a:lnTo>
                    <a:pt x="5312" y="1503"/>
                  </a:lnTo>
                  <a:lnTo>
                    <a:pt x="5303" y="1518"/>
                  </a:lnTo>
                  <a:lnTo>
                    <a:pt x="5293" y="1533"/>
                  </a:lnTo>
                  <a:lnTo>
                    <a:pt x="5286" y="1540"/>
                  </a:lnTo>
                  <a:lnTo>
                    <a:pt x="5280" y="1547"/>
                  </a:lnTo>
                  <a:lnTo>
                    <a:pt x="5272" y="1553"/>
                  </a:lnTo>
                  <a:lnTo>
                    <a:pt x="5265" y="1559"/>
                  </a:lnTo>
                  <a:lnTo>
                    <a:pt x="5249" y="1571"/>
                  </a:lnTo>
                  <a:lnTo>
                    <a:pt x="5231" y="1581"/>
                  </a:lnTo>
                  <a:lnTo>
                    <a:pt x="5221" y="1585"/>
                  </a:lnTo>
                  <a:lnTo>
                    <a:pt x="5210" y="1589"/>
                  </a:lnTo>
                  <a:lnTo>
                    <a:pt x="5200" y="1592"/>
                  </a:lnTo>
                  <a:lnTo>
                    <a:pt x="5189" y="1595"/>
                  </a:lnTo>
                  <a:lnTo>
                    <a:pt x="5177" y="1597"/>
                  </a:lnTo>
                  <a:lnTo>
                    <a:pt x="5165" y="1599"/>
                  </a:lnTo>
                  <a:lnTo>
                    <a:pt x="5153" y="1600"/>
                  </a:lnTo>
                  <a:lnTo>
                    <a:pt x="5139" y="1600"/>
                  </a:lnTo>
                  <a:lnTo>
                    <a:pt x="5120" y="1599"/>
                  </a:lnTo>
                  <a:lnTo>
                    <a:pt x="5103" y="1597"/>
                  </a:lnTo>
                  <a:lnTo>
                    <a:pt x="5088" y="1592"/>
                  </a:lnTo>
                  <a:lnTo>
                    <a:pt x="5074" y="1587"/>
                  </a:lnTo>
                  <a:lnTo>
                    <a:pt x="5062" y="1581"/>
                  </a:lnTo>
                  <a:lnTo>
                    <a:pt x="5052" y="1572"/>
                  </a:lnTo>
                  <a:lnTo>
                    <a:pt x="5043" y="1564"/>
                  </a:lnTo>
                  <a:lnTo>
                    <a:pt x="5036" y="1553"/>
                  </a:lnTo>
                  <a:lnTo>
                    <a:pt x="5030" y="1542"/>
                  </a:lnTo>
                  <a:lnTo>
                    <a:pt x="5026" y="1532"/>
                  </a:lnTo>
                  <a:lnTo>
                    <a:pt x="5024" y="1520"/>
                  </a:lnTo>
                  <a:lnTo>
                    <a:pt x="5023" y="1507"/>
                  </a:lnTo>
                  <a:lnTo>
                    <a:pt x="5024" y="1494"/>
                  </a:lnTo>
                  <a:lnTo>
                    <a:pt x="5026" y="1484"/>
                  </a:lnTo>
                  <a:lnTo>
                    <a:pt x="5029" y="1473"/>
                  </a:lnTo>
                  <a:lnTo>
                    <a:pt x="5034" y="1463"/>
                  </a:lnTo>
                  <a:lnTo>
                    <a:pt x="5041" y="1455"/>
                  </a:lnTo>
                  <a:lnTo>
                    <a:pt x="5048" y="1447"/>
                  </a:lnTo>
                  <a:lnTo>
                    <a:pt x="5057" y="1440"/>
                  </a:lnTo>
                  <a:lnTo>
                    <a:pt x="5066" y="1433"/>
                  </a:lnTo>
                  <a:lnTo>
                    <a:pt x="5077" y="1427"/>
                  </a:lnTo>
                  <a:lnTo>
                    <a:pt x="5088" y="1422"/>
                  </a:lnTo>
                  <a:lnTo>
                    <a:pt x="5100" y="1416"/>
                  </a:lnTo>
                  <a:lnTo>
                    <a:pt x="5112" y="1412"/>
                  </a:lnTo>
                  <a:lnTo>
                    <a:pt x="5127" y="1407"/>
                  </a:lnTo>
                  <a:lnTo>
                    <a:pt x="5144" y="1402"/>
                  </a:lnTo>
                  <a:lnTo>
                    <a:pt x="5162" y="1399"/>
                  </a:lnTo>
                  <a:lnTo>
                    <a:pt x="5182" y="1395"/>
                  </a:lnTo>
                  <a:lnTo>
                    <a:pt x="5202" y="1392"/>
                  </a:lnTo>
                  <a:lnTo>
                    <a:pt x="5223" y="1389"/>
                  </a:lnTo>
                  <a:lnTo>
                    <a:pt x="5246" y="1384"/>
                  </a:lnTo>
                  <a:lnTo>
                    <a:pt x="5269" y="1381"/>
                  </a:lnTo>
                  <a:lnTo>
                    <a:pt x="5285" y="1379"/>
                  </a:lnTo>
                  <a:lnTo>
                    <a:pt x="5301" y="1377"/>
                  </a:lnTo>
                  <a:lnTo>
                    <a:pt x="5318" y="1374"/>
                  </a:lnTo>
                  <a:lnTo>
                    <a:pt x="5335" y="1372"/>
                  </a:lnTo>
                  <a:lnTo>
                    <a:pt x="5335" y="1379"/>
                  </a:lnTo>
                  <a:lnTo>
                    <a:pt x="5335" y="1389"/>
                  </a:lnTo>
                  <a:lnTo>
                    <a:pt x="5334" y="1397"/>
                  </a:lnTo>
                  <a:lnTo>
                    <a:pt x="5334" y="1408"/>
                  </a:lnTo>
                  <a:lnTo>
                    <a:pt x="5333" y="1425"/>
                  </a:lnTo>
                  <a:lnTo>
                    <a:pt x="5331" y="1442"/>
                  </a:lnTo>
                  <a:lnTo>
                    <a:pt x="5327" y="1457"/>
                  </a:lnTo>
                  <a:lnTo>
                    <a:pt x="5322" y="1472"/>
                  </a:lnTo>
                  <a:close/>
                  <a:moveTo>
                    <a:pt x="6146" y="1039"/>
                  </a:moveTo>
                  <a:lnTo>
                    <a:pt x="6021" y="1039"/>
                  </a:lnTo>
                  <a:lnTo>
                    <a:pt x="6021" y="1566"/>
                  </a:lnTo>
                  <a:lnTo>
                    <a:pt x="5728" y="1566"/>
                  </a:lnTo>
                  <a:lnTo>
                    <a:pt x="5728" y="1039"/>
                  </a:lnTo>
                  <a:lnTo>
                    <a:pt x="5603" y="1039"/>
                  </a:lnTo>
                  <a:lnTo>
                    <a:pt x="5603" y="1684"/>
                  </a:lnTo>
                  <a:lnTo>
                    <a:pt x="6147" y="1684"/>
                  </a:lnTo>
                  <a:lnTo>
                    <a:pt x="6147" y="1811"/>
                  </a:lnTo>
                  <a:lnTo>
                    <a:pt x="6272" y="1811"/>
                  </a:lnTo>
                  <a:lnTo>
                    <a:pt x="6272" y="1571"/>
                  </a:lnTo>
                  <a:lnTo>
                    <a:pt x="6146" y="1571"/>
                  </a:lnTo>
                  <a:lnTo>
                    <a:pt x="6146" y="1039"/>
                  </a:lnTo>
                  <a:close/>
                  <a:moveTo>
                    <a:pt x="6475" y="1478"/>
                  </a:moveTo>
                  <a:lnTo>
                    <a:pt x="6475" y="1039"/>
                  </a:lnTo>
                  <a:lnTo>
                    <a:pt x="6355" y="1039"/>
                  </a:lnTo>
                  <a:lnTo>
                    <a:pt x="6355" y="1684"/>
                  </a:lnTo>
                  <a:lnTo>
                    <a:pt x="6456" y="1684"/>
                  </a:lnTo>
                  <a:lnTo>
                    <a:pt x="6778" y="1235"/>
                  </a:lnTo>
                  <a:lnTo>
                    <a:pt x="6778" y="1684"/>
                  </a:lnTo>
                  <a:lnTo>
                    <a:pt x="6899" y="1684"/>
                  </a:lnTo>
                  <a:lnTo>
                    <a:pt x="6899" y="1039"/>
                  </a:lnTo>
                  <a:lnTo>
                    <a:pt x="6798" y="1039"/>
                  </a:lnTo>
                  <a:lnTo>
                    <a:pt x="6475" y="1478"/>
                  </a:lnTo>
                  <a:close/>
                  <a:moveTo>
                    <a:pt x="7315" y="1039"/>
                  </a:moveTo>
                  <a:lnTo>
                    <a:pt x="7303" y="1039"/>
                  </a:lnTo>
                  <a:lnTo>
                    <a:pt x="7290" y="1040"/>
                  </a:lnTo>
                  <a:lnTo>
                    <a:pt x="7277" y="1040"/>
                  </a:lnTo>
                  <a:lnTo>
                    <a:pt x="7261" y="1040"/>
                  </a:lnTo>
                  <a:lnTo>
                    <a:pt x="7245" y="1041"/>
                  </a:lnTo>
                  <a:lnTo>
                    <a:pt x="7230" y="1043"/>
                  </a:lnTo>
                  <a:lnTo>
                    <a:pt x="7214" y="1045"/>
                  </a:lnTo>
                  <a:lnTo>
                    <a:pt x="7199" y="1048"/>
                  </a:lnTo>
                  <a:lnTo>
                    <a:pt x="7182" y="1052"/>
                  </a:lnTo>
                  <a:lnTo>
                    <a:pt x="7165" y="1058"/>
                  </a:lnTo>
                  <a:lnTo>
                    <a:pt x="7149" y="1064"/>
                  </a:lnTo>
                  <a:lnTo>
                    <a:pt x="7135" y="1072"/>
                  </a:lnTo>
                  <a:lnTo>
                    <a:pt x="7120" y="1081"/>
                  </a:lnTo>
                  <a:lnTo>
                    <a:pt x="7107" y="1091"/>
                  </a:lnTo>
                  <a:lnTo>
                    <a:pt x="7094" y="1103"/>
                  </a:lnTo>
                  <a:lnTo>
                    <a:pt x="7082" y="1114"/>
                  </a:lnTo>
                  <a:lnTo>
                    <a:pt x="7072" y="1128"/>
                  </a:lnTo>
                  <a:lnTo>
                    <a:pt x="7062" y="1142"/>
                  </a:lnTo>
                  <a:lnTo>
                    <a:pt x="7055" y="1158"/>
                  </a:lnTo>
                  <a:lnTo>
                    <a:pt x="7048" y="1174"/>
                  </a:lnTo>
                  <a:lnTo>
                    <a:pt x="7043" y="1192"/>
                  </a:lnTo>
                  <a:lnTo>
                    <a:pt x="7040" y="1210"/>
                  </a:lnTo>
                  <a:lnTo>
                    <a:pt x="7038" y="1231"/>
                  </a:lnTo>
                  <a:lnTo>
                    <a:pt x="7037" y="1251"/>
                  </a:lnTo>
                  <a:lnTo>
                    <a:pt x="7038" y="1272"/>
                  </a:lnTo>
                  <a:lnTo>
                    <a:pt x="7040" y="1293"/>
                  </a:lnTo>
                  <a:lnTo>
                    <a:pt x="7043" y="1312"/>
                  </a:lnTo>
                  <a:lnTo>
                    <a:pt x="7048" y="1329"/>
                  </a:lnTo>
                  <a:lnTo>
                    <a:pt x="7056" y="1346"/>
                  </a:lnTo>
                  <a:lnTo>
                    <a:pt x="7064" y="1361"/>
                  </a:lnTo>
                  <a:lnTo>
                    <a:pt x="7074" y="1376"/>
                  </a:lnTo>
                  <a:lnTo>
                    <a:pt x="7085" y="1389"/>
                  </a:lnTo>
                  <a:lnTo>
                    <a:pt x="7094" y="1398"/>
                  </a:lnTo>
                  <a:lnTo>
                    <a:pt x="7104" y="1406"/>
                  </a:lnTo>
                  <a:lnTo>
                    <a:pt x="7114" y="1414"/>
                  </a:lnTo>
                  <a:lnTo>
                    <a:pt x="7125" y="1421"/>
                  </a:lnTo>
                  <a:lnTo>
                    <a:pt x="7136" y="1427"/>
                  </a:lnTo>
                  <a:lnTo>
                    <a:pt x="7147" y="1433"/>
                  </a:lnTo>
                  <a:lnTo>
                    <a:pt x="7159" y="1439"/>
                  </a:lnTo>
                  <a:lnTo>
                    <a:pt x="7172" y="1443"/>
                  </a:lnTo>
                  <a:lnTo>
                    <a:pt x="7018" y="1684"/>
                  </a:lnTo>
                  <a:lnTo>
                    <a:pt x="7152" y="1684"/>
                  </a:lnTo>
                  <a:lnTo>
                    <a:pt x="7294" y="1459"/>
                  </a:lnTo>
                  <a:lnTo>
                    <a:pt x="7306" y="1460"/>
                  </a:lnTo>
                  <a:lnTo>
                    <a:pt x="7318" y="1460"/>
                  </a:lnTo>
                  <a:lnTo>
                    <a:pt x="7446" y="1460"/>
                  </a:lnTo>
                  <a:lnTo>
                    <a:pt x="7446" y="1684"/>
                  </a:lnTo>
                  <a:lnTo>
                    <a:pt x="7571" y="1684"/>
                  </a:lnTo>
                  <a:lnTo>
                    <a:pt x="7571" y="1039"/>
                  </a:lnTo>
                  <a:lnTo>
                    <a:pt x="7315" y="1039"/>
                  </a:lnTo>
                  <a:close/>
                  <a:moveTo>
                    <a:pt x="7446" y="1360"/>
                  </a:moveTo>
                  <a:lnTo>
                    <a:pt x="7446" y="1360"/>
                  </a:lnTo>
                  <a:lnTo>
                    <a:pt x="7307" y="1360"/>
                  </a:lnTo>
                  <a:lnTo>
                    <a:pt x="7294" y="1360"/>
                  </a:lnTo>
                  <a:lnTo>
                    <a:pt x="7278" y="1359"/>
                  </a:lnTo>
                  <a:lnTo>
                    <a:pt x="7269" y="1358"/>
                  </a:lnTo>
                  <a:lnTo>
                    <a:pt x="7261" y="1357"/>
                  </a:lnTo>
                  <a:lnTo>
                    <a:pt x="7252" y="1354"/>
                  </a:lnTo>
                  <a:lnTo>
                    <a:pt x="7243" y="1352"/>
                  </a:lnTo>
                  <a:lnTo>
                    <a:pt x="7235" y="1350"/>
                  </a:lnTo>
                  <a:lnTo>
                    <a:pt x="7227" y="1347"/>
                  </a:lnTo>
                  <a:lnTo>
                    <a:pt x="7220" y="1344"/>
                  </a:lnTo>
                  <a:lnTo>
                    <a:pt x="7214" y="1340"/>
                  </a:lnTo>
                  <a:lnTo>
                    <a:pt x="7206" y="1335"/>
                  </a:lnTo>
                  <a:lnTo>
                    <a:pt x="7200" y="1330"/>
                  </a:lnTo>
                  <a:lnTo>
                    <a:pt x="7193" y="1324"/>
                  </a:lnTo>
                  <a:lnTo>
                    <a:pt x="7188" y="1317"/>
                  </a:lnTo>
                  <a:lnTo>
                    <a:pt x="7183" y="1311"/>
                  </a:lnTo>
                  <a:lnTo>
                    <a:pt x="7177" y="1303"/>
                  </a:lnTo>
                  <a:lnTo>
                    <a:pt x="7173" y="1296"/>
                  </a:lnTo>
                  <a:lnTo>
                    <a:pt x="7170" y="1287"/>
                  </a:lnTo>
                  <a:lnTo>
                    <a:pt x="7168" y="1279"/>
                  </a:lnTo>
                  <a:lnTo>
                    <a:pt x="7166" y="1269"/>
                  </a:lnTo>
                  <a:lnTo>
                    <a:pt x="7165" y="1259"/>
                  </a:lnTo>
                  <a:lnTo>
                    <a:pt x="7165" y="1250"/>
                  </a:lnTo>
                  <a:lnTo>
                    <a:pt x="7165" y="1236"/>
                  </a:lnTo>
                  <a:lnTo>
                    <a:pt x="7167" y="1224"/>
                  </a:lnTo>
                  <a:lnTo>
                    <a:pt x="7171" y="1213"/>
                  </a:lnTo>
                  <a:lnTo>
                    <a:pt x="7175" y="1201"/>
                  </a:lnTo>
                  <a:lnTo>
                    <a:pt x="7181" y="1191"/>
                  </a:lnTo>
                  <a:lnTo>
                    <a:pt x="7187" y="1182"/>
                  </a:lnTo>
                  <a:lnTo>
                    <a:pt x="7194" y="1173"/>
                  </a:lnTo>
                  <a:lnTo>
                    <a:pt x="7203" y="1167"/>
                  </a:lnTo>
                  <a:lnTo>
                    <a:pt x="7211" y="1160"/>
                  </a:lnTo>
                  <a:lnTo>
                    <a:pt x="7220" y="1155"/>
                  </a:lnTo>
                  <a:lnTo>
                    <a:pt x="7230" y="1151"/>
                  </a:lnTo>
                  <a:lnTo>
                    <a:pt x="7238" y="1147"/>
                  </a:lnTo>
                  <a:lnTo>
                    <a:pt x="7248" y="1144"/>
                  </a:lnTo>
                  <a:lnTo>
                    <a:pt x="7256" y="1143"/>
                  </a:lnTo>
                  <a:lnTo>
                    <a:pt x="7266" y="1141"/>
                  </a:lnTo>
                  <a:lnTo>
                    <a:pt x="7275" y="1141"/>
                  </a:lnTo>
                  <a:lnTo>
                    <a:pt x="7285" y="1140"/>
                  </a:lnTo>
                  <a:lnTo>
                    <a:pt x="7293" y="1140"/>
                  </a:lnTo>
                  <a:lnTo>
                    <a:pt x="7301" y="1139"/>
                  </a:lnTo>
                  <a:lnTo>
                    <a:pt x="7307" y="1139"/>
                  </a:lnTo>
                  <a:lnTo>
                    <a:pt x="7446" y="1139"/>
                  </a:lnTo>
                  <a:lnTo>
                    <a:pt x="7446" y="1360"/>
                  </a:lnTo>
                  <a:close/>
                  <a:moveTo>
                    <a:pt x="1070" y="2556"/>
                  </a:moveTo>
                  <a:lnTo>
                    <a:pt x="758" y="1848"/>
                  </a:lnTo>
                  <a:lnTo>
                    <a:pt x="645" y="1825"/>
                  </a:lnTo>
                  <a:lnTo>
                    <a:pt x="645" y="2684"/>
                  </a:lnTo>
                  <a:lnTo>
                    <a:pt x="763" y="2708"/>
                  </a:lnTo>
                  <a:lnTo>
                    <a:pt x="763" y="2120"/>
                  </a:lnTo>
                  <a:lnTo>
                    <a:pt x="1041" y="2763"/>
                  </a:lnTo>
                  <a:lnTo>
                    <a:pt x="1098" y="2775"/>
                  </a:lnTo>
                  <a:lnTo>
                    <a:pt x="1375" y="2241"/>
                  </a:lnTo>
                  <a:lnTo>
                    <a:pt x="1375" y="2830"/>
                  </a:lnTo>
                  <a:lnTo>
                    <a:pt x="1493" y="2853"/>
                  </a:lnTo>
                  <a:lnTo>
                    <a:pt x="1493" y="1994"/>
                  </a:lnTo>
                  <a:lnTo>
                    <a:pt x="1379" y="1970"/>
                  </a:lnTo>
                  <a:lnTo>
                    <a:pt x="1070" y="2556"/>
                  </a:lnTo>
                  <a:close/>
                  <a:moveTo>
                    <a:pt x="1855" y="2207"/>
                  </a:moveTo>
                  <a:lnTo>
                    <a:pt x="1871" y="2201"/>
                  </a:lnTo>
                  <a:lnTo>
                    <a:pt x="1887" y="2196"/>
                  </a:lnTo>
                  <a:lnTo>
                    <a:pt x="1905" y="2192"/>
                  </a:lnTo>
                  <a:lnTo>
                    <a:pt x="1923" y="2190"/>
                  </a:lnTo>
                  <a:lnTo>
                    <a:pt x="1943" y="2189"/>
                  </a:lnTo>
                  <a:lnTo>
                    <a:pt x="1964" y="2190"/>
                  </a:lnTo>
                  <a:lnTo>
                    <a:pt x="1985" y="2192"/>
                  </a:lnTo>
                  <a:lnTo>
                    <a:pt x="2007" y="2197"/>
                  </a:lnTo>
                  <a:lnTo>
                    <a:pt x="2032" y="2202"/>
                  </a:lnTo>
                  <a:lnTo>
                    <a:pt x="2055" y="2209"/>
                  </a:lnTo>
                  <a:lnTo>
                    <a:pt x="2079" y="2218"/>
                  </a:lnTo>
                  <a:lnTo>
                    <a:pt x="2100" y="2228"/>
                  </a:lnTo>
                  <a:lnTo>
                    <a:pt x="2120" y="2239"/>
                  </a:lnTo>
                  <a:lnTo>
                    <a:pt x="2139" y="2251"/>
                  </a:lnTo>
                  <a:lnTo>
                    <a:pt x="2157" y="2265"/>
                  </a:lnTo>
                  <a:lnTo>
                    <a:pt x="2174" y="2281"/>
                  </a:lnTo>
                  <a:lnTo>
                    <a:pt x="2189" y="2297"/>
                  </a:lnTo>
                  <a:lnTo>
                    <a:pt x="2203" y="2315"/>
                  </a:lnTo>
                  <a:lnTo>
                    <a:pt x="2216" y="2333"/>
                  </a:lnTo>
                  <a:lnTo>
                    <a:pt x="2228" y="2352"/>
                  </a:lnTo>
                  <a:lnTo>
                    <a:pt x="2239" y="2373"/>
                  </a:lnTo>
                  <a:lnTo>
                    <a:pt x="2247" y="2394"/>
                  </a:lnTo>
                  <a:lnTo>
                    <a:pt x="2256" y="2416"/>
                  </a:lnTo>
                  <a:lnTo>
                    <a:pt x="2262" y="2440"/>
                  </a:lnTo>
                  <a:lnTo>
                    <a:pt x="2389" y="2431"/>
                  </a:lnTo>
                  <a:lnTo>
                    <a:pt x="2384" y="2414"/>
                  </a:lnTo>
                  <a:lnTo>
                    <a:pt x="2379" y="2398"/>
                  </a:lnTo>
                  <a:lnTo>
                    <a:pt x="2373" y="2382"/>
                  </a:lnTo>
                  <a:lnTo>
                    <a:pt x="2367" y="2366"/>
                  </a:lnTo>
                  <a:lnTo>
                    <a:pt x="2359" y="2350"/>
                  </a:lnTo>
                  <a:lnTo>
                    <a:pt x="2352" y="2335"/>
                  </a:lnTo>
                  <a:lnTo>
                    <a:pt x="2344" y="2320"/>
                  </a:lnTo>
                  <a:lnTo>
                    <a:pt x="2336" y="2307"/>
                  </a:lnTo>
                  <a:lnTo>
                    <a:pt x="2327" y="2292"/>
                  </a:lnTo>
                  <a:lnTo>
                    <a:pt x="2318" y="2278"/>
                  </a:lnTo>
                  <a:lnTo>
                    <a:pt x="2308" y="2265"/>
                  </a:lnTo>
                  <a:lnTo>
                    <a:pt x="2299" y="2251"/>
                  </a:lnTo>
                  <a:lnTo>
                    <a:pt x="2288" y="2238"/>
                  </a:lnTo>
                  <a:lnTo>
                    <a:pt x="2277" y="2225"/>
                  </a:lnTo>
                  <a:lnTo>
                    <a:pt x="2266" y="2214"/>
                  </a:lnTo>
                  <a:lnTo>
                    <a:pt x="2254" y="2202"/>
                  </a:lnTo>
                  <a:lnTo>
                    <a:pt x="2241" y="2190"/>
                  </a:lnTo>
                  <a:lnTo>
                    <a:pt x="2228" y="2178"/>
                  </a:lnTo>
                  <a:lnTo>
                    <a:pt x="2215" y="2169"/>
                  </a:lnTo>
                  <a:lnTo>
                    <a:pt x="2202" y="2158"/>
                  </a:lnTo>
                  <a:lnTo>
                    <a:pt x="2188" y="2149"/>
                  </a:lnTo>
                  <a:lnTo>
                    <a:pt x="2173" y="2140"/>
                  </a:lnTo>
                  <a:lnTo>
                    <a:pt x="2158" y="2131"/>
                  </a:lnTo>
                  <a:lnTo>
                    <a:pt x="2143" y="2123"/>
                  </a:lnTo>
                  <a:lnTo>
                    <a:pt x="2128" y="2115"/>
                  </a:lnTo>
                  <a:lnTo>
                    <a:pt x="2112" y="2109"/>
                  </a:lnTo>
                  <a:lnTo>
                    <a:pt x="2095" y="2103"/>
                  </a:lnTo>
                  <a:lnTo>
                    <a:pt x="2078" y="2096"/>
                  </a:lnTo>
                  <a:lnTo>
                    <a:pt x="2061" y="2091"/>
                  </a:lnTo>
                  <a:lnTo>
                    <a:pt x="2044" y="2086"/>
                  </a:lnTo>
                  <a:lnTo>
                    <a:pt x="2026" y="2081"/>
                  </a:lnTo>
                  <a:lnTo>
                    <a:pt x="2007" y="2077"/>
                  </a:lnTo>
                  <a:lnTo>
                    <a:pt x="1975" y="2072"/>
                  </a:lnTo>
                  <a:lnTo>
                    <a:pt x="1946" y="2069"/>
                  </a:lnTo>
                  <a:lnTo>
                    <a:pt x="1916" y="2067"/>
                  </a:lnTo>
                  <a:lnTo>
                    <a:pt x="1888" y="2067"/>
                  </a:lnTo>
                  <a:lnTo>
                    <a:pt x="1874" y="2069"/>
                  </a:lnTo>
                  <a:lnTo>
                    <a:pt x="1861" y="2071"/>
                  </a:lnTo>
                  <a:lnTo>
                    <a:pt x="1847" y="2073"/>
                  </a:lnTo>
                  <a:lnTo>
                    <a:pt x="1836" y="2075"/>
                  </a:lnTo>
                  <a:lnTo>
                    <a:pt x="1823" y="2078"/>
                  </a:lnTo>
                  <a:lnTo>
                    <a:pt x="1811" y="2081"/>
                  </a:lnTo>
                  <a:lnTo>
                    <a:pt x="1799" y="2086"/>
                  </a:lnTo>
                  <a:lnTo>
                    <a:pt x="1788" y="2090"/>
                  </a:lnTo>
                  <a:lnTo>
                    <a:pt x="1765" y="2101"/>
                  </a:lnTo>
                  <a:lnTo>
                    <a:pt x="1745" y="2112"/>
                  </a:lnTo>
                  <a:lnTo>
                    <a:pt x="1726" y="2126"/>
                  </a:lnTo>
                  <a:lnTo>
                    <a:pt x="1708" y="2142"/>
                  </a:lnTo>
                  <a:lnTo>
                    <a:pt x="1691" y="2159"/>
                  </a:lnTo>
                  <a:lnTo>
                    <a:pt x="1676" y="2177"/>
                  </a:lnTo>
                  <a:lnTo>
                    <a:pt x="1662" y="2198"/>
                  </a:lnTo>
                  <a:lnTo>
                    <a:pt x="1649" y="2220"/>
                  </a:lnTo>
                  <a:lnTo>
                    <a:pt x="1637" y="2244"/>
                  </a:lnTo>
                  <a:lnTo>
                    <a:pt x="1628" y="2268"/>
                  </a:lnTo>
                  <a:lnTo>
                    <a:pt x="1619" y="2295"/>
                  </a:lnTo>
                  <a:lnTo>
                    <a:pt x="1613" y="2321"/>
                  </a:lnTo>
                  <a:lnTo>
                    <a:pt x="1607" y="2350"/>
                  </a:lnTo>
                  <a:lnTo>
                    <a:pt x="1604" y="2380"/>
                  </a:lnTo>
                  <a:lnTo>
                    <a:pt x="1601" y="2412"/>
                  </a:lnTo>
                  <a:lnTo>
                    <a:pt x="1601" y="2444"/>
                  </a:lnTo>
                  <a:lnTo>
                    <a:pt x="1601" y="2477"/>
                  </a:lnTo>
                  <a:lnTo>
                    <a:pt x="1604" y="2509"/>
                  </a:lnTo>
                  <a:lnTo>
                    <a:pt x="1607" y="2541"/>
                  </a:lnTo>
                  <a:lnTo>
                    <a:pt x="1613" y="2572"/>
                  </a:lnTo>
                  <a:lnTo>
                    <a:pt x="1619" y="2602"/>
                  </a:lnTo>
                  <a:lnTo>
                    <a:pt x="1628" y="2632"/>
                  </a:lnTo>
                  <a:lnTo>
                    <a:pt x="1637" y="2660"/>
                  </a:lnTo>
                  <a:lnTo>
                    <a:pt x="1649" y="2689"/>
                  </a:lnTo>
                  <a:lnTo>
                    <a:pt x="1662" y="2715"/>
                  </a:lnTo>
                  <a:lnTo>
                    <a:pt x="1676" y="2741"/>
                  </a:lnTo>
                  <a:lnTo>
                    <a:pt x="1691" y="2767"/>
                  </a:lnTo>
                  <a:lnTo>
                    <a:pt x="1708" y="2790"/>
                  </a:lnTo>
                  <a:lnTo>
                    <a:pt x="1726" y="2812"/>
                  </a:lnTo>
                  <a:lnTo>
                    <a:pt x="1745" y="2834"/>
                  </a:lnTo>
                  <a:lnTo>
                    <a:pt x="1765" y="2854"/>
                  </a:lnTo>
                  <a:lnTo>
                    <a:pt x="1788" y="2873"/>
                  </a:lnTo>
                  <a:lnTo>
                    <a:pt x="1811" y="2891"/>
                  </a:lnTo>
                  <a:lnTo>
                    <a:pt x="1836" y="2907"/>
                  </a:lnTo>
                  <a:lnTo>
                    <a:pt x="1861" y="2922"/>
                  </a:lnTo>
                  <a:lnTo>
                    <a:pt x="1888" y="2935"/>
                  </a:lnTo>
                  <a:lnTo>
                    <a:pt x="1916" y="2947"/>
                  </a:lnTo>
                  <a:lnTo>
                    <a:pt x="1946" y="2958"/>
                  </a:lnTo>
                  <a:lnTo>
                    <a:pt x="1975" y="2966"/>
                  </a:lnTo>
                  <a:lnTo>
                    <a:pt x="2007" y="2974"/>
                  </a:lnTo>
                  <a:lnTo>
                    <a:pt x="2026" y="2977"/>
                  </a:lnTo>
                  <a:lnTo>
                    <a:pt x="2044" y="2979"/>
                  </a:lnTo>
                  <a:lnTo>
                    <a:pt x="2061" y="2981"/>
                  </a:lnTo>
                  <a:lnTo>
                    <a:pt x="2078" y="2982"/>
                  </a:lnTo>
                  <a:lnTo>
                    <a:pt x="2095" y="2983"/>
                  </a:lnTo>
                  <a:lnTo>
                    <a:pt x="2112" y="2983"/>
                  </a:lnTo>
                  <a:lnTo>
                    <a:pt x="2128" y="2983"/>
                  </a:lnTo>
                  <a:lnTo>
                    <a:pt x="2143" y="2981"/>
                  </a:lnTo>
                  <a:lnTo>
                    <a:pt x="2158" y="2979"/>
                  </a:lnTo>
                  <a:lnTo>
                    <a:pt x="2173" y="2977"/>
                  </a:lnTo>
                  <a:lnTo>
                    <a:pt x="2188" y="2974"/>
                  </a:lnTo>
                  <a:lnTo>
                    <a:pt x="2202" y="2969"/>
                  </a:lnTo>
                  <a:lnTo>
                    <a:pt x="2215" y="2965"/>
                  </a:lnTo>
                  <a:lnTo>
                    <a:pt x="2228" y="2960"/>
                  </a:lnTo>
                  <a:lnTo>
                    <a:pt x="2241" y="2953"/>
                  </a:lnTo>
                  <a:lnTo>
                    <a:pt x="2254" y="2947"/>
                  </a:lnTo>
                  <a:lnTo>
                    <a:pt x="2266" y="2939"/>
                  </a:lnTo>
                  <a:lnTo>
                    <a:pt x="2277" y="2932"/>
                  </a:lnTo>
                  <a:lnTo>
                    <a:pt x="2288" y="2923"/>
                  </a:lnTo>
                  <a:lnTo>
                    <a:pt x="2299" y="2915"/>
                  </a:lnTo>
                  <a:lnTo>
                    <a:pt x="2308" y="2905"/>
                  </a:lnTo>
                  <a:lnTo>
                    <a:pt x="2318" y="2896"/>
                  </a:lnTo>
                  <a:lnTo>
                    <a:pt x="2327" y="2886"/>
                  </a:lnTo>
                  <a:lnTo>
                    <a:pt x="2336" y="2875"/>
                  </a:lnTo>
                  <a:lnTo>
                    <a:pt x="2344" y="2864"/>
                  </a:lnTo>
                  <a:lnTo>
                    <a:pt x="2352" y="2852"/>
                  </a:lnTo>
                  <a:lnTo>
                    <a:pt x="2359" y="2840"/>
                  </a:lnTo>
                  <a:lnTo>
                    <a:pt x="2367" y="2827"/>
                  </a:lnTo>
                  <a:lnTo>
                    <a:pt x="2373" y="2814"/>
                  </a:lnTo>
                  <a:lnTo>
                    <a:pt x="2379" y="2801"/>
                  </a:lnTo>
                  <a:lnTo>
                    <a:pt x="2384" y="2786"/>
                  </a:lnTo>
                  <a:lnTo>
                    <a:pt x="2389" y="2772"/>
                  </a:lnTo>
                  <a:lnTo>
                    <a:pt x="2262" y="2712"/>
                  </a:lnTo>
                  <a:lnTo>
                    <a:pt x="2256" y="2732"/>
                  </a:lnTo>
                  <a:lnTo>
                    <a:pt x="2247" y="2752"/>
                  </a:lnTo>
                  <a:lnTo>
                    <a:pt x="2239" y="2770"/>
                  </a:lnTo>
                  <a:lnTo>
                    <a:pt x="2228" y="2786"/>
                  </a:lnTo>
                  <a:lnTo>
                    <a:pt x="2216" y="2800"/>
                  </a:lnTo>
                  <a:lnTo>
                    <a:pt x="2203" y="2814"/>
                  </a:lnTo>
                  <a:lnTo>
                    <a:pt x="2189" y="2825"/>
                  </a:lnTo>
                  <a:lnTo>
                    <a:pt x="2174" y="2836"/>
                  </a:lnTo>
                  <a:lnTo>
                    <a:pt x="2165" y="2840"/>
                  </a:lnTo>
                  <a:lnTo>
                    <a:pt x="2157" y="2844"/>
                  </a:lnTo>
                  <a:lnTo>
                    <a:pt x="2148" y="2849"/>
                  </a:lnTo>
                  <a:lnTo>
                    <a:pt x="2139" y="2852"/>
                  </a:lnTo>
                  <a:lnTo>
                    <a:pt x="2120" y="2856"/>
                  </a:lnTo>
                  <a:lnTo>
                    <a:pt x="2100" y="2859"/>
                  </a:lnTo>
                  <a:lnTo>
                    <a:pt x="2079" y="2862"/>
                  </a:lnTo>
                  <a:lnTo>
                    <a:pt x="2055" y="2860"/>
                  </a:lnTo>
                  <a:lnTo>
                    <a:pt x="2032" y="2858"/>
                  </a:lnTo>
                  <a:lnTo>
                    <a:pt x="2007" y="2854"/>
                  </a:lnTo>
                  <a:lnTo>
                    <a:pt x="1985" y="2850"/>
                  </a:lnTo>
                  <a:lnTo>
                    <a:pt x="1964" y="2843"/>
                  </a:lnTo>
                  <a:lnTo>
                    <a:pt x="1943" y="2836"/>
                  </a:lnTo>
                  <a:lnTo>
                    <a:pt x="1923" y="2827"/>
                  </a:lnTo>
                  <a:lnTo>
                    <a:pt x="1905" y="2818"/>
                  </a:lnTo>
                  <a:lnTo>
                    <a:pt x="1887" y="2807"/>
                  </a:lnTo>
                  <a:lnTo>
                    <a:pt x="1871" y="2795"/>
                  </a:lnTo>
                  <a:lnTo>
                    <a:pt x="1855" y="2783"/>
                  </a:lnTo>
                  <a:lnTo>
                    <a:pt x="1840" y="2769"/>
                  </a:lnTo>
                  <a:lnTo>
                    <a:pt x="1826" y="2755"/>
                  </a:lnTo>
                  <a:lnTo>
                    <a:pt x="1813" y="2739"/>
                  </a:lnTo>
                  <a:lnTo>
                    <a:pt x="1802" y="2723"/>
                  </a:lnTo>
                  <a:lnTo>
                    <a:pt x="1790" y="2706"/>
                  </a:lnTo>
                  <a:lnTo>
                    <a:pt x="1780" y="2688"/>
                  </a:lnTo>
                  <a:lnTo>
                    <a:pt x="1771" y="2669"/>
                  </a:lnTo>
                  <a:lnTo>
                    <a:pt x="1763" y="2649"/>
                  </a:lnTo>
                  <a:lnTo>
                    <a:pt x="1756" y="2629"/>
                  </a:lnTo>
                  <a:lnTo>
                    <a:pt x="1749" y="2609"/>
                  </a:lnTo>
                  <a:lnTo>
                    <a:pt x="1744" y="2586"/>
                  </a:lnTo>
                  <a:lnTo>
                    <a:pt x="1740" y="2565"/>
                  </a:lnTo>
                  <a:lnTo>
                    <a:pt x="1736" y="2542"/>
                  </a:lnTo>
                  <a:lnTo>
                    <a:pt x="1734" y="2519"/>
                  </a:lnTo>
                  <a:lnTo>
                    <a:pt x="1733" y="2495"/>
                  </a:lnTo>
                  <a:lnTo>
                    <a:pt x="1732" y="2471"/>
                  </a:lnTo>
                  <a:lnTo>
                    <a:pt x="1733" y="2446"/>
                  </a:lnTo>
                  <a:lnTo>
                    <a:pt x="1734" y="2424"/>
                  </a:lnTo>
                  <a:lnTo>
                    <a:pt x="1736" y="2402"/>
                  </a:lnTo>
                  <a:lnTo>
                    <a:pt x="1741" y="2380"/>
                  </a:lnTo>
                  <a:lnTo>
                    <a:pt x="1745" y="2360"/>
                  </a:lnTo>
                  <a:lnTo>
                    <a:pt x="1750" y="2341"/>
                  </a:lnTo>
                  <a:lnTo>
                    <a:pt x="1756" y="2321"/>
                  </a:lnTo>
                  <a:lnTo>
                    <a:pt x="1763" y="2304"/>
                  </a:lnTo>
                  <a:lnTo>
                    <a:pt x="1772" y="2288"/>
                  </a:lnTo>
                  <a:lnTo>
                    <a:pt x="1780" y="2272"/>
                  </a:lnTo>
                  <a:lnTo>
                    <a:pt x="1791" y="2259"/>
                  </a:lnTo>
                  <a:lnTo>
                    <a:pt x="1802" y="2246"/>
                  </a:lnTo>
                  <a:lnTo>
                    <a:pt x="1813" y="2235"/>
                  </a:lnTo>
                  <a:lnTo>
                    <a:pt x="1826" y="2224"/>
                  </a:lnTo>
                  <a:lnTo>
                    <a:pt x="1840" y="2215"/>
                  </a:lnTo>
                  <a:lnTo>
                    <a:pt x="1855" y="2207"/>
                  </a:lnTo>
                  <a:close/>
                  <a:moveTo>
                    <a:pt x="2633" y="2337"/>
                  </a:moveTo>
                  <a:lnTo>
                    <a:pt x="3068" y="2424"/>
                  </a:lnTo>
                  <a:lnTo>
                    <a:pt x="3068" y="3166"/>
                  </a:lnTo>
                  <a:lnTo>
                    <a:pt x="3192" y="3190"/>
                  </a:lnTo>
                  <a:lnTo>
                    <a:pt x="3192" y="2331"/>
                  </a:lnTo>
                  <a:lnTo>
                    <a:pt x="2509" y="2194"/>
                  </a:lnTo>
                  <a:lnTo>
                    <a:pt x="2509" y="3055"/>
                  </a:lnTo>
                  <a:lnTo>
                    <a:pt x="2633" y="3079"/>
                  </a:lnTo>
                  <a:lnTo>
                    <a:pt x="2633" y="2337"/>
                  </a:lnTo>
                  <a:close/>
                  <a:moveTo>
                    <a:pt x="2659" y="535"/>
                  </a:moveTo>
                  <a:lnTo>
                    <a:pt x="0" y="0"/>
                  </a:lnTo>
                  <a:lnTo>
                    <a:pt x="0" y="2523"/>
                  </a:lnTo>
                  <a:lnTo>
                    <a:pt x="106" y="2547"/>
                  </a:lnTo>
                  <a:lnTo>
                    <a:pt x="106" y="133"/>
                  </a:lnTo>
                  <a:lnTo>
                    <a:pt x="2655" y="640"/>
                  </a:lnTo>
                  <a:lnTo>
                    <a:pt x="2659" y="535"/>
                  </a:lnTo>
                  <a:close/>
                  <a:moveTo>
                    <a:pt x="3762" y="3829"/>
                  </a:moveTo>
                  <a:lnTo>
                    <a:pt x="2555" y="3588"/>
                  </a:lnTo>
                  <a:lnTo>
                    <a:pt x="2555" y="3693"/>
                  </a:lnTo>
                  <a:lnTo>
                    <a:pt x="3868" y="3962"/>
                  </a:lnTo>
                  <a:lnTo>
                    <a:pt x="3868" y="2715"/>
                  </a:lnTo>
                  <a:lnTo>
                    <a:pt x="3762" y="2688"/>
                  </a:lnTo>
                  <a:lnTo>
                    <a:pt x="3762" y="38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B1E15F3F-12B1-8793-B06D-0B207881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08833" y="378561"/>
              <a:ext cx="1033529" cy="219288"/>
            </a:xfrm>
            <a:custGeom>
              <a:avLst/>
              <a:gdLst>
                <a:gd name="T0" fmla="*/ 1171 w 16100"/>
                <a:gd name="T1" fmla="*/ 712 h 3416"/>
                <a:gd name="T2" fmla="*/ 1871 w 16100"/>
                <a:gd name="T3" fmla="*/ 1146 h 3416"/>
                <a:gd name="T4" fmla="*/ 2109 w 16100"/>
                <a:gd name="T5" fmla="*/ 843 h 3416"/>
                <a:gd name="T6" fmla="*/ 2496 w 16100"/>
                <a:gd name="T7" fmla="*/ 697 h 3416"/>
                <a:gd name="T8" fmla="*/ 2840 w 16100"/>
                <a:gd name="T9" fmla="*/ 718 h 3416"/>
                <a:gd name="T10" fmla="*/ 3069 w 16100"/>
                <a:gd name="T11" fmla="*/ 832 h 3416"/>
                <a:gd name="T12" fmla="*/ 3243 w 16100"/>
                <a:gd name="T13" fmla="*/ 1027 h 3416"/>
                <a:gd name="T14" fmla="*/ 2781 w 16100"/>
                <a:gd name="T15" fmla="*/ 985 h 3416"/>
                <a:gd name="T16" fmla="*/ 2544 w 16100"/>
                <a:gd name="T17" fmla="*/ 956 h 3416"/>
                <a:gd name="T18" fmla="*/ 2315 w 16100"/>
                <a:gd name="T19" fmla="*/ 1050 h 3416"/>
                <a:gd name="T20" fmla="*/ 2178 w 16100"/>
                <a:gd name="T21" fmla="*/ 1244 h 3416"/>
                <a:gd name="T22" fmla="*/ 2159 w 16100"/>
                <a:gd name="T23" fmla="*/ 1499 h 3416"/>
                <a:gd name="T24" fmla="*/ 2267 w 16100"/>
                <a:gd name="T25" fmla="*/ 1714 h 3416"/>
                <a:gd name="T26" fmla="*/ 2474 w 16100"/>
                <a:gd name="T27" fmla="*/ 1839 h 3416"/>
                <a:gd name="T28" fmla="*/ 2755 w 16100"/>
                <a:gd name="T29" fmla="*/ 1834 h 3416"/>
                <a:gd name="T30" fmla="*/ 2969 w 16100"/>
                <a:gd name="T31" fmla="*/ 1657 h 3416"/>
                <a:gd name="T32" fmla="*/ 3085 w 16100"/>
                <a:gd name="T33" fmla="*/ 1963 h 3416"/>
                <a:gd name="T34" fmla="*/ 2864 w 16100"/>
                <a:gd name="T35" fmla="*/ 2083 h 3416"/>
                <a:gd name="T36" fmla="*/ 2536 w 16100"/>
                <a:gd name="T37" fmla="*/ 2116 h 3416"/>
                <a:gd name="T38" fmla="*/ 2139 w 16100"/>
                <a:gd name="T39" fmla="*/ 1986 h 3416"/>
                <a:gd name="T40" fmla="*/ 1885 w 16100"/>
                <a:gd name="T41" fmla="*/ 1695 h 3416"/>
                <a:gd name="T42" fmla="*/ 3731 w 16100"/>
                <a:gd name="T43" fmla="*/ 971 h 3416"/>
                <a:gd name="T44" fmla="*/ 6287 w 16100"/>
                <a:gd name="T45" fmla="*/ 1216 h 3416"/>
                <a:gd name="T46" fmla="*/ 6564 w 16100"/>
                <a:gd name="T47" fmla="*/ 1280 h 3416"/>
                <a:gd name="T48" fmla="*/ 6732 w 16100"/>
                <a:gd name="T49" fmla="*/ 1447 h 3416"/>
                <a:gd name="T50" fmla="*/ 6782 w 16100"/>
                <a:gd name="T51" fmla="*/ 1677 h 3416"/>
                <a:gd name="T52" fmla="*/ 6710 w 16100"/>
                <a:gd name="T53" fmla="*/ 1899 h 3416"/>
                <a:gd name="T54" fmla="*/ 6523 w 16100"/>
                <a:gd name="T55" fmla="*/ 2050 h 3416"/>
                <a:gd name="T56" fmla="*/ 5582 w 16100"/>
                <a:gd name="T57" fmla="*/ 712 h 3416"/>
                <a:gd name="T58" fmla="*/ 6367 w 16100"/>
                <a:gd name="T59" fmla="*/ 1807 h 3416"/>
                <a:gd name="T60" fmla="*/ 6451 w 16100"/>
                <a:gd name="T61" fmla="*/ 1703 h 3416"/>
                <a:gd name="T62" fmla="*/ 6448 w 16100"/>
                <a:gd name="T63" fmla="*/ 1597 h 3416"/>
                <a:gd name="T64" fmla="*/ 6348 w 16100"/>
                <a:gd name="T65" fmla="*/ 1494 h 3416"/>
                <a:gd name="T66" fmla="*/ 7555 w 16100"/>
                <a:gd name="T67" fmla="*/ 2033 h 3416"/>
                <a:gd name="T68" fmla="*/ 7311 w 16100"/>
                <a:gd name="T69" fmla="*/ 2117 h 3416"/>
                <a:gd name="T70" fmla="*/ 7111 w 16100"/>
                <a:gd name="T71" fmla="*/ 2094 h 3416"/>
                <a:gd name="T72" fmla="*/ 6957 w 16100"/>
                <a:gd name="T73" fmla="*/ 1991 h 3416"/>
                <a:gd name="T74" fmla="*/ 6884 w 16100"/>
                <a:gd name="T75" fmla="*/ 1808 h 3416"/>
                <a:gd name="T76" fmla="*/ 6936 w 16100"/>
                <a:gd name="T77" fmla="*/ 1609 h 3416"/>
                <a:gd name="T78" fmla="*/ 7080 w 16100"/>
                <a:gd name="T79" fmla="*/ 1499 h 3416"/>
                <a:gd name="T80" fmla="*/ 7259 w 16100"/>
                <a:gd name="T81" fmla="*/ 1465 h 3416"/>
                <a:gd name="T82" fmla="*/ 7520 w 16100"/>
                <a:gd name="T83" fmla="*/ 1523 h 3416"/>
                <a:gd name="T84" fmla="*/ 7595 w 16100"/>
                <a:gd name="T85" fmla="*/ 1407 h 3416"/>
                <a:gd name="T86" fmla="*/ 7503 w 16100"/>
                <a:gd name="T87" fmla="*/ 1310 h 3416"/>
                <a:gd name="T88" fmla="*/ 7258 w 16100"/>
                <a:gd name="T89" fmla="*/ 1296 h 3416"/>
                <a:gd name="T90" fmla="*/ 7049 w 16100"/>
                <a:gd name="T91" fmla="*/ 1402 h 3416"/>
                <a:gd name="T92" fmla="*/ 7224 w 16100"/>
                <a:gd name="T93" fmla="*/ 1090 h 3416"/>
                <a:gd name="T94" fmla="*/ 7527 w 16100"/>
                <a:gd name="T95" fmla="*/ 1076 h 3416"/>
                <a:gd name="T96" fmla="*/ 7742 w 16100"/>
                <a:gd name="T97" fmla="*/ 1150 h 3416"/>
                <a:gd name="T98" fmla="*/ 7871 w 16100"/>
                <a:gd name="T99" fmla="*/ 1326 h 3416"/>
                <a:gd name="T100" fmla="*/ 7592 w 16100"/>
                <a:gd name="T101" fmla="*/ 1720 h 3416"/>
                <a:gd name="T102" fmla="*/ 7441 w 16100"/>
                <a:gd name="T103" fmla="*/ 1648 h 3416"/>
                <a:gd name="T104" fmla="*/ 7244 w 16100"/>
                <a:gd name="T105" fmla="*/ 1672 h 3416"/>
                <a:gd name="T106" fmla="*/ 7172 w 16100"/>
                <a:gd name="T107" fmla="*/ 1776 h 3416"/>
                <a:gd name="T108" fmla="*/ 7195 w 16100"/>
                <a:gd name="T109" fmla="*/ 1870 h 3416"/>
                <a:gd name="T110" fmla="*/ 7374 w 16100"/>
                <a:gd name="T111" fmla="*/ 1941 h 3416"/>
                <a:gd name="T112" fmla="*/ 7547 w 16100"/>
                <a:gd name="T113" fmla="*/ 1900 h 3416"/>
                <a:gd name="T114" fmla="*/ 8878 w 16100"/>
                <a:gd name="T115" fmla="*/ 1094 h 3416"/>
                <a:gd name="T116" fmla="*/ 9709 w 16100"/>
                <a:gd name="T117" fmla="*/ 2095 h 3416"/>
                <a:gd name="T118" fmla="*/ 13892 w 16100"/>
                <a:gd name="T119" fmla="*/ 3416 h 3416"/>
                <a:gd name="T120" fmla="*/ 14648 w 16100"/>
                <a:gd name="T121" fmla="*/ 1078 h 3416"/>
                <a:gd name="T122" fmla="*/ 13021 w 16100"/>
                <a:gd name="T123" fmla="*/ 1191 h 3416"/>
                <a:gd name="T124" fmla="*/ 10883 w 16100"/>
                <a:gd name="T125" fmla="*/ 0 h 3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00" h="3416">
                  <a:moveTo>
                    <a:pt x="1299" y="2095"/>
                  </a:moveTo>
                  <a:lnTo>
                    <a:pt x="1299" y="1127"/>
                  </a:lnTo>
                  <a:lnTo>
                    <a:pt x="878" y="2095"/>
                  </a:lnTo>
                  <a:lnTo>
                    <a:pt x="739" y="2095"/>
                  </a:lnTo>
                  <a:lnTo>
                    <a:pt x="318" y="1127"/>
                  </a:lnTo>
                  <a:lnTo>
                    <a:pt x="318" y="2095"/>
                  </a:lnTo>
                  <a:lnTo>
                    <a:pt x="0" y="2095"/>
                  </a:lnTo>
                  <a:lnTo>
                    <a:pt x="0" y="712"/>
                  </a:lnTo>
                  <a:lnTo>
                    <a:pt x="446" y="712"/>
                  </a:lnTo>
                  <a:lnTo>
                    <a:pt x="808" y="1547"/>
                  </a:lnTo>
                  <a:lnTo>
                    <a:pt x="1171" y="712"/>
                  </a:lnTo>
                  <a:lnTo>
                    <a:pt x="1619" y="712"/>
                  </a:lnTo>
                  <a:lnTo>
                    <a:pt x="1619" y="2095"/>
                  </a:lnTo>
                  <a:lnTo>
                    <a:pt x="1299" y="2095"/>
                  </a:lnTo>
                  <a:close/>
                  <a:moveTo>
                    <a:pt x="1823" y="1404"/>
                  </a:moveTo>
                  <a:lnTo>
                    <a:pt x="1824" y="1365"/>
                  </a:lnTo>
                  <a:lnTo>
                    <a:pt x="1827" y="1326"/>
                  </a:lnTo>
                  <a:lnTo>
                    <a:pt x="1832" y="1288"/>
                  </a:lnTo>
                  <a:lnTo>
                    <a:pt x="1838" y="1252"/>
                  </a:lnTo>
                  <a:lnTo>
                    <a:pt x="1847" y="1216"/>
                  </a:lnTo>
                  <a:lnTo>
                    <a:pt x="1859" y="1180"/>
                  </a:lnTo>
                  <a:lnTo>
                    <a:pt x="1871" y="1146"/>
                  </a:lnTo>
                  <a:lnTo>
                    <a:pt x="1885" y="1113"/>
                  </a:lnTo>
                  <a:lnTo>
                    <a:pt x="1900" y="1082"/>
                  </a:lnTo>
                  <a:lnTo>
                    <a:pt x="1917" y="1050"/>
                  </a:lnTo>
                  <a:lnTo>
                    <a:pt x="1936" y="1020"/>
                  </a:lnTo>
                  <a:lnTo>
                    <a:pt x="1957" y="991"/>
                  </a:lnTo>
                  <a:lnTo>
                    <a:pt x="1978" y="964"/>
                  </a:lnTo>
                  <a:lnTo>
                    <a:pt x="2001" y="936"/>
                  </a:lnTo>
                  <a:lnTo>
                    <a:pt x="2027" y="911"/>
                  </a:lnTo>
                  <a:lnTo>
                    <a:pt x="2053" y="887"/>
                  </a:lnTo>
                  <a:lnTo>
                    <a:pt x="2080" y="864"/>
                  </a:lnTo>
                  <a:lnTo>
                    <a:pt x="2109" y="843"/>
                  </a:lnTo>
                  <a:lnTo>
                    <a:pt x="2139" y="823"/>
                  </a:lnTo>
                  <a:lnTo>
                    <a:pt x="2169" y="803"/>
                  </a:lnTo>
                  <a:lnTo>
                    <a:pt x="2202" y="785"/>
                  </a:lnTo>
                  <a:lnTo>
                    <a:pt x="2236" y="769"/>
                  </a:lnTo>
                  <a:lnTo>
                    <a:pt x="2270" y="754"/>
                  </a:lnTo>
                  <a:lnTo>
                    <a:pt x="2305" y="741"/>
                  </a:lnTo>
                  <a:lnTo>
                    <a:pt x="2342" y="729"/>
                  </a:lnTo>
                  <a:lnTo>
                    <a:pt x="2379" y="719"/>
                  </a:lnTo>
                  <a:lnTo>
                    <a:pt x="2417" y="710"/>
                  </a:lnTo>
                  <a:lnTo>
                    <a:pt x="2455" y="703"/>
                  </a:lnTo>
                  <a:lnTo>
                    <a:pt x="2496" y="697"/>
                  </a:lnTo>
                  <a:lnTo>
                    <a:pt x="2536" y="692"/>
                  </a:lnTo>
                  <a:lnTo>
                    <a:pt x="2577" y="689"/>
                  </a:lnTo>
                  <a:lnTo>
                    <a:pt x="2618" y="689"/>
                  </a:lnTo>
                  <a:lnTo>
                    <a:pt x="2648" y="689"/>
                  </a:lnTo>
                  <a:lnTo>
                    <a:pt x="2679" y="690"/>
                  </a:lnTo>
                  <a:lnTo>
                    <a:pt x="2707" y="693"/>
                  </a:lnTo>
                  <a:lnTo>
                    <a:pt x="2735" y="697"/>
                  </a:lnTo>
                  <a:lnTo>
                    <a:pt x="2762" y="701"/>
                  </a:lnTo>
                  <a:lnTo>
                    <a:pt x="2789" y="706"/>
                  </a:lnTo>
                  <a:lnTo>
                    <a:pt x="2814" y="712"/>
                  </a:lnTo>
                  <a:lnTo>
                    <a:pt x="2840" y="718"/>
                  </a:lnTo>
                  <a:lnTo>
                    <a:pt x="2865" y="725"/>
                  </a:lnTo>
                  <a:lnTo>
                    <a:pt x="2888" y="733"/>
                  </a:lnTo>
                  <a:lnTo>
                    <a:pt x="2911" y="742"/>
                  </a:lnTo>
                  <a:lnTo>
                    <a:pt x="2933" y="751"/>
                  </a:lnTo>
                  <a:lnTo>
                    <a:pt x="2954" y="761"/>
                  </a:lnTo>
                  <a:lnTo>
                    <a:pt x="2975" y="771"/>
                  </a:lnTo>
                  <a:lnTo>
                    <a:pt x="2996" y="782"/>
                  </a:lnTo>
                  <a:lnTo>
                    <a:pt x="3015" y="793"/>
                  </a:lnTo>
                  <a:lnTo>
                    <a:pt x="3034" y="805"/>
                  </a:lnTo>
                  <a:lnTo>
                    <a:pt x="3052" y="818"/>
                  </a:lnTo>
                  <a:lnTo>
                    <a:pt x="3069" y="832"/>
                  </a:lnTo>
                  <a:lnTo>
                    <a:pt x="3086" y="845"/>
                  </a:lnTo>
                  <a:lnTo>
                    <a:pt x="3102" y="859"/>
                  </a:lnTo>
                  <a:lnTo>
                    <a:pt x="3118" y="873"/>
                  </a:lnTo>
                  <a:lnTo>
                    <a:pt x="3132" y="887"/>
                  </a:lnTo>
                  <a:lnTo>
                    <a:pt x="3148" y="902"/>
                  </a:lnTo>
                  <a:lnTo>
                    <a:pt x="3162" y="916"/>
                  </a:lnTo>
                  <a:lnTo>
                    <a:pt x="3175" y="932"/>
                  </a:lnTo>
                  <a:lnTo>
                    <a:pt x="3188" y="947"/>
                  </a:lnTo>
                  <a:lnTo>
                    <a:pt x="3200" y="964"/>
                  </a:lnTo>
                  <a:lnTo>
                    <a:pt x="3222" y="995"/>
                  </a:lnTo>
                  <a:lnTo>
                    <a:pt x="3243" y="1027"/>
                  </a:lnTo>
                  <a:lnTo>
                    <a:pt x="2969" y="1152"/>
                  </a:lnTo>
                  <a:lnTo>
                    <a:pt x="2957" y="1131"/>
                  </a:lnTo>
                  <a:lnTo>
                    <a:pt x="2943" y="1111"/>
                  </a:lnTo>
                  <a:lnTo>
                    <a:pt x="2927" y="1092"/>
                  </a:lnTo>
                  <a:lnTo>
                    <a:pt x="2910" y="1073"/>
                  </a:lnTo>
                  <a:lnTo>
                    <a:pt x="2892" y="1055"/>
                  </a:lnTo>
                  <a:lnTo>
                    <a:pt x="2872" y="1039"/>
                  </a:lnTo>
                  <a:lnTo>
                    <a:pt x="2851" y="1023"/>
                  </a:lnTo>
                  <a:lnTo>
                    <a:pt x="2829" y="1009"/>
                  </a:lnTo>
                  <a:lnTo>
                    <a:pt x="2805" y="996"/>
                  </a:lnTo>
                  <a:lnTo>
                    <a:pt x="2781" y="985"/>
                  </a:lnTo>
                  <a:lnTo>
                    <a:pt x="2755" y="975"/>
                  </a:lnTo>
                  <a:lnTo>
                    <a:pt x="2730" y="966"/>
                  </a:lnTo>
                  <a:lnTo>
                    <a:pt x="2703" y="960"/>
                  </a:lnTo>
                  <a:lnTo>
                    <a:pt x="2675" y="955"/>
                  </a:lnTo>
                  <a:lnTo>
                    <a:pt x="2662" y="953"/>
                  </a:lnTo>
                  <a:lnTo>
                    <a:pt x="2647" y="952"/>
                  </a:lnTo>
                  <a:lnTo>
                    <a:pt x="2632" y="951"/>
                  </a:lnTo>
                  <a:lnTo>
                    <a:pt x="2618" y="951"/>
                  </a:lnTo>
                  <a:lnTo>
                    <a:pt x="2593" y="951"/>
                  </a:lnTo>
                  <a:lnTo>
                    <a:pt x="2568" y="953"/>
                  </a:lnTo>
                  <a:lnTo>
                    <a:pt x="2544" y="956"/>
                  </a:lnTo>
                  <a:lnTo>
                    <a:pt x="2521" y="960"/>
                  </a:lnTo>
                  <a:lnTo>
                    <a:pt x="2498" y="964"/>
                  </a:lnTo>
                  <a:lnTo>
                    <a:pt x="2474" y="970"/>
                  </a:lnTo>
                  <a:lnTo>
                    <a:pt x="2452" y="977"/>
                  </a:lnTo>
                  <a:lnTo>
                    <a:pt x="2431" y="985"/>
                  </a:lnTo>
                  <a:lnTo>
                    <a:pt x="2410" y="994"/>
                  </a:lnTo>
                  <a:lnTo>
                    <a:pt x="2390" y="1003"/>
                  </a:lnTo>
                  <a:lnTo>
                    <a:pt x="2370" y="1014"/>
                  </a:lnTo>
                  <a:lnTo>
                    <a:pt x="2352" y="1025"/>
                  </a:lnTo>
                  <a:lnTo>
                    <a:pt x="2332" y="1037"/>
                  </a:lnTo>
                  <a:lnTo>
                    <a:pt x="2315" y="1050"/>
                  </a:lnTo>
                  <a:lnTo>
                    <a:pt x="2298" y="1064"/>
                  </a:lnTo>
                  <a:lnTo>
                    <a:pt x="2282" y="1080"/>
                  </a:lnTo>
                  <a:lnTo>
                    <a:pt x="2267" y="1095"/>
                  </a:lnTo>
                  <a:lnTo>
                    <a:pt x="2253" y="1111"/>
                  </a:lnTo>
                  <a:lnTo>
                    <a:pt x="2240" y="1128"/>
                  </a:lnTo>
                  <a:lnTo>
                    <a:pt x="2227" y="1146"/>
                  </a:lnTo>
                  <a:lnTo>
                    <a:pt x="2215" y="1164"/>
                  </a:lnTo>
                  <a:lnTo>
                    <a:pt x="2205" y="1183"/>
                  </a:lnTo>
                  <a:lnTo>
                    <a:pt x="2195" y="1203"/>
                  </a:lnTo>
                  <a:lnTo>
                    <a:pt x="2186" y="1224"/>
                  </a:lnTo>
                  <a:lnTo>
                    <a:pt x="2178" y="1244"/>
                  </a:lnTo>
                  <a:lnTo>
                    <a:pt x="2170" y="1265"/>
                  </a:lnTo>
                  <a:lnTo>
                    <a:pt x="2164" y="1287"/>
                  </a:lnTo>
                  <a:lnTo>
                    <a:pt x="2159" y="1309"/>
                  </a:lnTo>
                  <a:lnTo>
                    <a:pt x="2155" y="1333"/>
                  </a:lnTo>
                  <a:lnTo>
                    <a:pt x="2152" y="1356"/>
                  </a:lnTo>
                  <a:lnTo>
                    <a:pt x="2150" y="1380"/>
                  </a:lnTo>
                  <a:lnTo>
                    <a:pt x="2150" y="1404"/>
                  </a:lnTo>
                  <a:lnTo>
                    <a:pt x="2150" y="1428"/>
                  </a:lnTo>
                  <a:lnTo>
                    <a:pt x="2152" y="1452"/>
                  </a:lnTo>
                  <a:lnTo>
                    <a:pt x="2155" y="1476"/>
                  </a:lnTo>
                  <a:lnTo>
                    <a:pt x="2159" y="1499"/>
                  </a:lnTo>
                  <a:lnTo>
                    <a:pt x="2164" y="1521"/>
                  </a:lnTo>
                  <a:lnTo>
                    <a:pt x="2170" y="1543"/>
                  </a:lnTo>
                  <a:lnTo>
                    <a:pt x="2178" y="1564"/>
                  </a:lnTo>
                  <a:lnTo>
                    <a:pt x="2186" y="1586"/>
                  </a:lnTo>
                  <a:lnTo>
                    <a:pt x="2195" y="1606"/>
                  </a:lnTo>
                  <a:lnTo>
                    <a:pt x="2205" y="1626"/>
                  </a:lnTo>
                  <a:lnTo>
                    <a:pt x="2215" y="1644"/>
                  </a:lnTo>
                  <a:lnTo>
                    <a:pt x="2227" y="1663"/>
                  </a:lnTo>
                  <a:lnTo>
                    <a:pt x="2240" y="1680"/>
                  </a:lnTo>
                  <a:lnTo>
                    <a:pt x="2253" y="1697"/>
                  </a:lnTo>
                  <a:lnTo>
                    <a:pt x="2267" y="1714"/>
                  </a:lnTo>
                  <a:lnTo>
                    <a:pt x="2282" y="1730"/>
                  </a:lnTo>
                  <a:lnTo>
                    <a:pt x="2298" y="1744"/>
                  </a:lnTo>
                  <a:lnTo>
                    <a:pt x="2315" y="1758"/>
                  </a:lnTo>
                  <a:lnTo>
                    <a:pt x="2332" y="1771"/>
                  </a:lnTo>
                  <a:lnTo>
                    <a:pt x="2352" y="1784"/>
                  </a:lnTo>
                  <a:lnTo>
                    <a:pt x="2370" y="1795"/>
                  </a:lnTo>
                  <a:lnTo>
                    <a:pt x="2390" y="1805"/>
                  </a:lnTo>
                  <a:lnTo>
                    <a:pt x="2410" y="1815"/>
                  </a:lnTo>
                  <a:lnTo>
                    <a:pt x="2431" y="1824"/>
                  </a:lnTo>
                  <a:lnTo>
                    <a:pt x="2452" y="1832"/>
                  </a:lnTo>
                  <a:lnTo>
                    <a:pt x="2474" y="1839"/>
                  </a:lnTo>
                  <a:lnTo>
                    <a:pt x="2498" y="1845"/>
                  </a:lnTo>
                  <a:lnTo>
                    <a:pt x="2521" y="1850"/>
                  </a:lnTo>
                  <a:lnTo>
                    <a:pt x="2544" y="1854"/>
                  </a:lnTo>
                  <a:lnTo>
                    <a:pt x="2568" y="1856"/>
                  </a:lnTo>
                  <a:lnTo>
                    <a:pt x="2593" y="1858"/>
                  </a:lnTo>
                  <a:lnTo>
                    <a:pt x="2618" y="1859"/>
                  </a:lnTo>
                  <a:lnTo>
                    <a:pt x="2647" y="1858"/>
                  </a:lnTo>
                  <a:lnTo>
                    <a:pt x="2675" y="1855"/>
                  </a:lnTo>
                  <a:lnTo>
                    <a:pt x="2703" y="1850"/>
                  </a:lnTo>
                  <a:lnTo>
                    <a:pt x="2730" y="1843"/>
                  </a:lnTo>
                  <a:lnTo>
                    <a:pt x="2755" y="1834"/>
                  </a:lnTo>
                  <a:lnTo>
                    <a:pt x="2781" y="1824"/>
                  </a:lnTo>
                  <a:lnTo>
                    <a:pt x="2805" y="1813"/>
                  </a:lnTo>
                  <a:lnTo>
                    <a:pt x="2829" y="1800"/>
                  </a:lnTo>
                  <a:lnTo>
                    <a:pt x="2851" y="1786"/>
                  </a:lnTo>
                  <a:lnTo>
                    <a:pt x="2872" y="1771"/>
                  </a:lnTo>
                  <a:lnTo>
                    <a:pt x="2892" y="1754"/>
                  </a:lnTo>
                  <a:lnTo>
                    <a:pt x="2910" y="1737"/>
                  </a:lnTo>
                  <a:lnTo>
                    <a:pt x="2927" y="1718"/>
                  </a:lnTo>
                  <a:lnTo>
                    <a:pt x="2943" y="1698"/>
                  </a:lnTo>
                  <a:lnTo>
                    <a:pt x="2957" y="1678"/>
                  </a:lnTo>
                  <a:lnTo>
                    <a:pt x="2969" y="1657"/>
                  </a:lnTo>
                  <a:lnTo>
                    <a:pt x="3243" y="1779"/>
                  </a:lnTo>
                  <a:lnTo>
                    <a:pt x="3222" y="1811"/>
                  </a:lnTo>
                  <a:lnTo>
                    <a:pt x="3199" y="1844"/>
                  </a:lnTo>
                  <a:lnTo>
                    <a:pt x="3187" y="1860"/>
                  </a:lnTo>
                  <a:lnTo>
                    <a:pt x="3174" y="1875"/>
                  </a:lnTo>
                  <a:lnTo>
                    <a:pt x="3161" y="1890"/>
                  </a:lnTo>
                  <a:lnTo>
                    <a:pt x="3147" y="1905"/>
                  </a:lnTo>
                  <a:lnTo>
                    <a:pt x="3131" y="1920"/>
                  </a:lnTo>
                  <a:lnTo>
                    <a:pt x="3116" y="1934"/>
                  </a:lnTo>
                  <a:lnTo>
                    <a:pt x="3101" y="1948"/>
                  </a:lnTo>
                  <a:lnTo>
                    <a:pt x="3085" y="1963"/>
                  </a:lnTo>
                  <a:lnTo>
                    <a:pt x="3068" y="1976"/>
                  </a:lnTo>
                  <a:lnTo>
                    <a:pt x="3051" y="1989"/>
                  </a:lnTo>
                  <a:lnTo>
                    <a:pt x="3033" y="2002"/>
                  </a:lnTo>
                  <a:lnTo>
                    <a:pt x="3014" y="2014"/>
                  </a:lnTo>
                  <a:lnTo>
                    <a:pt x="2995" y="2026"/>
                  </a:lnTo>
                  <a:lnTo>
                    <a:pt x="2974" y="2037"/>
                  </a:lnTo>
                  <a:lnTo>
                    <a:pt x="2953" y="2047"/>
                  </a:lnTo>
                  <a:lnTo>
                    <a:pt x="2932" y="2057"/>
                  </a:lnTo>
                  <a:lnTo>
                    <a:pt x="2910" y="2066"/>
                  </a:lnTo>
                  <a:lnTo>
                    <a:pt x="2887" y="2075"/>
                  </a:lnTo>
                  <a:lnTo>
                    <a:pt x="2864" y="2083"/>
                  </a:lnTo>
                  <a:lnTo>
                    <a:pt x="2840" y="2091"/>
                  </a:lnTo>
                  <a:lnTo>
                    <a:pt x="2814" y="2097"/>
                  </a:lnTo>
                  <a:lnTo>
                    <a:pt x="2789" y="2103"/>
                  </a:lnTo>
                  <a:lnTo>
                    <a:pt x="2762" y="2108"/>
                  </a:lnTo>
                  <a:lnTo>
                    <a:pt x="2735" y="2112"/>
                  </a:lnTo>
                  <a:lnTo>
                    <a:pt x="2707" y="2115"/>
                  </a:lnTo>
                  <a:lnTo>
                    <a:pt x="2679" y="2118"/>
                  </a:lnTo>
                  <a:lnTo>
                    <a:pt x="2648" y="2119"/>
                  </a:lnTo>
                  <a:lnTo>
                    <a:pt x="2618" y="2120"/>
                  </a:lnTo>
                  <a:lnTo>
                    <a:pt x="2577" y="2119"/>
                  </a:lnTo>
                  <a:lnTo>
                    <a:pt x="2536" y="2116"/>
                  </a:lnTo>
                  <a:lnTo>
                    <a:pt x="2496" y="2112"/>
                  </a:lnTo>
                  <a:lnTo>
                    <a:pt x="2455" y="2106"/>
                  </a:lnTo>
                  <a:lnTo>
                    <a:pt x="2417" y="2099"/>
                  </a:lnTo>
                  <a:lnTo>
                    <a:pt x="2379" y="2090"/>
                  </a:lnTo>
                  <a:lnTo>
                    <a:pt x="2342" y="2079"/>
                  </a:lnTo>
                  <a:lnTo>
                    <a:pt x="2305" y="2067"/>
                  </a:lnTo>
                  <a:lnTo>
                    <a:pt x="2270" y="2054"/>
                  </a:lnTo>
                  <a:lnTo>
                    <a:pt x="2236" y="2039"/>
                  </a:lnTo>
                  <a:lnTo>
                    <a:pt x="2202" y="2023"/>
                  </a:lnTo>
                  <a:lnTo>
                    <a:pt x="2169" y="2005"/>
                  </a:lnTo>
                  <a:lnTo>
                    <a:pt x="2139" y="1986"/>
                  </a:lnTo>
                  <a:lnTo>
                    <a:pt x="2109" y="1966"/>
                  </a:lnTo>
                  <a:lnTo>
                    <a:pt x="2080" y="1944"/>
                  </a:lnTo>
                  <a:lnTo>
                    <a:pt x="2053" y="1921"/>
                  </a:lnTo>
                  <a:lnTo>
                    <a:pt x="2027" y="1897"/>
                  </a:lnTo>
                  <a:lnTo>
                    <a:pt x="2001" y="1872"/>
                  </a:lnTo>
                  <a:lnTo>
                    <a:pt x="1978" y="1845"/>
                  </a:lnTo>
                  <a:lnTo>
                    <a:pt x="1957" y="1817"/>
                  </a:lnTo>
                  <a:lnTo>
                    <a:pt x="1936" y="1788"/>
                  </a:lnTo>
                  <a:lnTo>
                    <a:pt x="1917" y="1759"/>
                  </a:lnTo>
                  <a:lnTo>
                    <a:pt x="1900" y="1728"/>
                  </a:lnTo>
                  <a:lnTo>
                    <a:pt x="1885" y="1695"/>
                  </a:lnTo>
                  <a:lnTo>
                    <a:pt x="1871" y="1662"/>
                  </a:lnTo>
                  <a:lnTo>
                    <a:pt x="1859" y="1628"/>
                  </a:lnTo>
                  <a:lnTo>
                    <a:pt x="1847" y="1593"/>
                  </a:lnTo>
                  <a:lnTo>
                    <a:pt x="1838" y="1557"/>
                  </a:lnTo>
                  <a:lnTo>
                    <a:pt x="1832" y="1520"/>
                  </a:lnTo>
                  <a:lnTo>
                    <a:pt x="1827" y="1483"/>
                  </a:lnTo>
                  <a:lnTo>
                    <a:pt x="1824" y="1443"/>
                  </a:lnTo>
                  <a:lnTo>
                    <a:pt x="1823" y="1404"/>
                  </a:lnTo>
                  <a:close/>
                  <a:moveTo>
                    <a:pt x="4437" y="2095"/>
                  </a:moveTo>
                  <a:lnTo>
                    <a:pt x="4437" y="971"/>
                  </a:lnTo>
                  <a:lnTo>
                    <a:pt x="3731" y="971"/>
                  </a:lnTo>
                  <a:lnTo>
                    <a:pt x="3731" y="2095"/>
                  </a:lnTo>
                  <a:lnTo>
                    <a:pt x="3413" y="2095"/>
                  </a:lnTo>
                  <a:lnTo>
                    <a:pt x="3413" y="712"/>
                  </a:lnTo>
                  <a:lnTo>
                    <a:pt x="4758" y="712"/>
                  </a:lnTo>
                  <a:lnTo>
                    <a:pt x="4758" y="2095"/>
                  </a:lnTo>
                  <a:lnTo>
                    <a:pt x="4437" y="2095"/>
                  </a:lnTo>
                  <a:close/>
                  <a:moveTo>
                    <a:pt x="6672" y="712"/>
                  </a:moveTo>
                  <a:lnTo>
                    <a:pt x="6672" y="971"/>
                  </a:lnTo>
                  <a:lnTo>
                    <a:pt x="5900" y="971"/>
                  </a:lnTo>
                  <a:lnTo>
                    <a:pt x="5900" y="1216"/>
                  </a:lnTo>
                  <a:lnTo>
                    <a:pt x="6287" y="1216"/>
                  </a:lnTo>
                  <a:lnTo>
                    <a:pt x="6316" y="1216"/>
                  </a:lnTo>
                  <a:lnTo>
                    <a:pt x="6345" y="1218"/>
                  </a:lnTo>
                  <a:lnTo>
                    <a:pt x="6373" y="1221"/>
                  </a:lnTo>
                  <a:lnTo>
                    <a:pt x="6400" y="1225"/>
                  </a:lnTo>
                  <a:lnTo>
                    <a:pt x="6426" y="1230"/>
                  </a:lnTo>
                  <a:lnTo>
                    <a:pt x="6451" y="1236"/>
                  </a:lnTo>
                  <a:lnTo>
                    <a:pt x="6475" y="1243"/>
                  </a:lnTo>
                  <a:lnTo>
                    <a:pt x="6498" y="1251"/>
                  </a:lnTo>
                  <a:lnTo>
                    <a:pt x="6522" y="1260"/>
                  </a:lnTo>
                  <a:lnTo>
                    <a:pt x="6543" y="1269"/>
                  </a:lnTo>
                  <a:lnTo>
                    <a:pt x="6564" y="1280"/>
                  </a:lnTo>
                  <a:lnTo>
                    <a:pt x="6584" y="1291"/>
                  </a:lnTo>
                  <a:lnTo>
                    <a:pt x="6603" y="1304"/>
                  </a:lnTo>
                  <a:lnTo>
                    <a:pt x="6620" y="1317"/>
                  </a:lnTo>
                  <a:lnTo>
                    <a:pt x="6638" y="1332"/>
                  </a:lnTo>
                  <a:lnTo>
                    <a:pt x="6654" y="1346"/>
                  </a:lnTo>
                  <a:lnTo>
                    <a:pt x="6669" y="1361"/>
                  </a:lnTo>
                  <a:lnTo>
                    <a:pt x="6684" y="1377"/>
                  </a:lnTo>
                  <a:lnTo>
                    <a:pt x="6697" y="1394"/>
                  </a:lnTo>
                  <a:lnTo>
                    <a:pt x="6710" y="1411"/>
                  </a:lnTo>
                  <a:lnTo>
                    <a:pt x="6721" y="1429"/>
                  </a:lnTo>
                  <a:lnTo>
                    <a:pt x="6732" y="1447"/>
                  </a:lnTo>
                  <a:lnTo>
                    <a:pt x="6741" y="1467"/>
                  </a:lnTo>
                  <a:lnTo>
                    <a:pt x="6750" y="1486"/>
                  </a:lnTo>
                  <a:lnTo>
                    <a:pt x="6757" y="1506"/>
                  </a:lnTo>
                  <a:lnTo>
                    <a:pt x="6764" y="1526"/>
                  </a:lnTo>
                  <a:lnTo>
                    <a:pt x="6769" y="1546"/>
                  </a:lnTo>
                  <a:lnTo>
                    <a:pt x="6774" y="1567"/>
                  </a:lnTo>
                  <a:lnTo>
                    <a:pt x="6777" y="1590"/>
                  </a:lnTo>
                  <a:lnTo>
                    <a:pt x="6780" y="1611"/>
                  </a:lnTo>
                  <a:lnTo>
                    <a:pt x="6782" y="1633"/>
                  </a:lnTo>
                  <a:lnTo>
                    <a:pt x="6782" y="1655"/>
                  </a:lnTo>
                  <a:lnTo>
                    <a:pt x="6782" y="1677"/>
                  </a:lnTo>
                  <a:lnTo>
                    <a:pt x="6780" y="1699"/>
                  </a:lnTo>
                  <a:lnTo>
                    <a:pt x="6778" y="1721"/>
                  </a:lnTo>
                  <a:lnTo>
                    <a:pt x="6774" y="1743"/>
                  </a:lnTo>
                  <a:lnTo>
                    <a:pt x="6769" y="1764"/>
                  </a:lnTo>
                  <a:lnTo>
                    <a:pt x="6764" y="1784"/>
                  </a:lnTo>
                  <a:lnTo>
                    <a:pt x="6757" y="1804"/>
                  </a:lnTo>
                  <a:lnTo>
                    <a:pt x="6750" y="1824"/>
                  </a:lnTo>
                  <a:lnTo>
                    <a:pt x="6741" y="1844"/>
                  </a:lnTo>
                  <a:lnTo>
                    <a:pt x="6732" y="1863"/>
                  </a:lnTo>
                  <a:lnTo>
                    <a:pt x="6722" y="1881"/>
                  </a:lnTo>
                  <a:lnTo>
                    <a:pt x="6710" y="1899"/>
                  </a:lnTo>
                  <a:lnTo>
                    <a:pt x="6698" y="1916"/>
                  </a:lnTo>
                  <a:lnTo>
                    <a:pt x="6685" y="1933"/>
                  </a:lnTo>
                  <a:lnTo>
                    <a:pt x="6670" y="1949"/>
                  </a:lnTo>
                  <a:lnTo>
                    <a:pt x="6654" y="1965"/>
                  </a:lnTo>
                  <a:lnTo>
                    <a:pt x="6638" y="1979"/>
                  </a:lnTo>
                  <a:lnTo>
                    <a:pt x="6621" y="1993"/>
                  </a:lnTo>
                  <a:lnTo>
                    <a:pt x="6603" y="2006"/>
                  </a:lnTo>
                  <a:lnTo>
                    <a:pt x="6585" y="2018"/>
                  </a:lnTo>
                  <a:lnTo>
                    <a:pt x="6565" y="2030"/>
                  </a:lnTo>
                  <a:lnTo>
                    <a:pt x="6544" y="2041"/>
                  </a:lnTo>
                  <a:lnTo>
                    <a:pt x="6523" y="2050"/>
                  </a:lnTo>
                  <a:lnTo>
                    <a:pt x="6499" y="2059"/>
                  </a:lnTo>
                  <a:lnTo>
                    <a:pt x="6476" y="2067"/>
                  </a:lnTo>
                  <a:lnTo>
                    <a:pt x="6452" y="2074"/>
                  </a:lnTo>
                  <a:lnTo>
                    <a:pt x="6427" y="2080"/>
                  </a:lnTo>
                  <a:lnTo>
                    <a:pt x="6401" y="2085"/>
                  </a:lnTo>
                  <a:lnTo>
                    <a:pt x="6374" y="2090"/>
                  </a:lnTo>
                  <a:lnTo>
                    <a:pt x="6345" y="2093"/>
                  </a:lnTo>
                  <a:lnTo>
                    <a:pt x="6317" y="2095"/>
                  </a:lnTo>
                  <a:lnTo>
                    <a:pt x="6287" y="2095"/>
                  </a:lnTo>
                  <a:lnTo>
                    <a:pt x="5582" y="2095"/>
                  </a:lnTo>
                  <a:lnTo>
                    <a:pt x="5582" y="712"/>
                  </a:lnTo>
                  <a:lnTo>
                    <a:pt x="6672" y="712"/>
                  </a:lnTo>
                  <a:close/>
                  <a:moveTo>
                    <a:pt x="5900" y="1475"/>
                  </a:moveTo>
                  <a:lnTo>
                    <a:pt x="5900" y="1475"/>
                  </a:lnTo>
                  <a:lnTo>
                    <a:pt x="5900" y="1836"/>
                  </a:lnTo>
                  <a:lnTo>
                    <a:pt x="6245" y="1836"/>
                  </a:lnTo>
                  <a:lnTo>
                    <a:pt x="6268" y="1834"/>
                  </a:lnTo>
                  <a:lnTo>
                    <a:pt x="6289" y="1832"/>
                  </a:lnTo>
                  <a:lnTo>
                    <a:pt x="6310" y="1828"/>
                  </a:lnTo>
                  <a:lnTo>
                    <a:pt x="6330" y="1822"/>
                  </a:lnTo>
                  <a:lnTo>
                    <a:pt x="6348" y="1815"/>
                  </a:lnTo>
                  <a:lnTo>
                    <a:pt x="6367" y="1807"/>
                  </a:lnTo>
                  <a:lnTo>
                    <a:pt x="6383" y="1797"/>
                  </a:lnTo>
                  <a:lnTo>
                    <a:pt x="6398" y="1786"/>
                  </a:lnTo>
                  <a:lnTo>
                    <a:pt x="6411" y="1774"/>
                  </a:lnTo>
                  <a:lnTo>
                    <a:pt x="6423" y="1760"/>
                  </a:lnTo>
                  <a:lnTo>
                    <a:pt x="6428" y="1753"/>
                  </a:lnTo>
                  <a:lnTo>
                    <a:pt x="6433" y="1746"/>
                  </a:lnTo>
                  <a:lnTo>
                    <a:pt x="6437" y="1738"/>
                  </a:lnTo>
                  <a:lnTo>
                    <a:pt x="6441" y="1730"/>
                  </a:lnTo>
                  <a:lnTo>
                    <a:pt x="6445" y="1722"/>
                  </a:lnTo>
                  <a:lnTo>
                    <a:pt x="6448" y="1713"/>
                  </a:lnTo>
                  <a:lnTo>
                    <a:pt x="6451" y="1703"/>
                  </a:lnTo>
                  <a:lnTo>
                    <a:pt x="6453" y="1694"/>
                  </a:lnTo>
                  <a:lnTo>
                    <a:pt x="6455" y="1685"/>
                  </a:lnTo>
                  <a:lnTo>
                    <a:pt x="6456" y="1675"/>
                  </a:lnTo>
                  <a:lnTo>
                    <a:pt x="6457" y="1665"/>
                  </a:lnTo>
                  <a:lnTo>
                    <a:pt x="6457" y="1655"/>
                  </a:lnTo>
                  <a:lnTo>
                    <a:pt x="6457" y="1645"/>
                  </a:lnTo>
                  <a:lnTo>
                    <a:pt x="6456" y="1635"/>
                  </a:lnTo>
                  <a:lnTo>
                    <a:pt x="6455" y="1625"/>
                  </a:lnTo>
                  <a:lnTo>
                    <a:pt x="6453" y="1615"/>
                  </a:lnTo>
                  <a:lnTo>
                    <a:pt x="6451" y="1606"/>
                  </a:lnTo>
                  <a:lnTo>
                    <a:pt x="6448" y="1597"/>
                  </a:lnTo>
                  <a:lnTo>
                    <a:pt x="6445" y="1589"/>
                  </a:lnTo>
                  <a:lnTo>
                    <a:pt x="6441" y="1579"/>
                  </a:lnTo>
                  <a:lnTo>
                    <a:pt x="6437" y="1571"/>
                  </a:lnTo>
                  <a:lnTo>
                    <a:pt x="6433" y="1563"/>
                  </a:lnTo>
                  <a:lnTo>
                    <a:pt x="6428" y="1556"/>
                  </a:lnTo>
                  <a:lnTo>
                    <a:pt x="6423" y="1549"/>
                  </a:lnTo>
                  <a:lnTo>
                    <a:pt x="6411" y="1535"/>
                  </a:lnTo>
                  <a:lnTo>
                    <a:pt x="6398" y="1523"/>
                  </a:lnTo>
                  <a:lnTo>
                    <a:pt x="6383" y="1512"/>
                  </a:lnTo>
                  <a:lnTo>
                    <a:pt x="6367" y="1502"/>
                  </a:lnTo>
                  <a:lnTo>
                    <a:pt x="6348" y="1494"/>
                  </a:lnTo>
                  <a:lnTo>
                    <a:pt x="6330" y="1487"/>
                  </a:lnTo>
                  <a:lnTo>
                    <a:pt x="6310" y="1482"/>
                  </a:lnTo>
                  <a:lnTo>
                    <a:pt x="6289" y="1478"/>
                  </a:lnTo>
                  <a:lnTo>
                    <a:pt x="6268" y="1476"/>
                  </a:lnTo>
                  <a:lnTo>
                    <a:pt x="6245" y="1475"/>
                  </a:lnTo>
                  <a:lnTo>
                    <a:pt x="5900" y="1475"/>
                  </a:lnTo>
                  <a:close/>
                  <a:moveTo>
                    <a:pt x="7602" y="2095"/>
                  </a:moveTo>
                  <a:lnTo>
                    <a:pt x="7602" y="1991"/>
                  </a:lnTo>
                  <a:lnTo>
                    <a:pt x="7587" y="2006"/>
                  </a:lnTo>
                  <a:lnTo>
                    <a:pt x="7572" y="2020"/>
                  </a:lnTo>
                  <a:lnTo>
                    <a:pt x="7555" y="2033"/>
                  </a:lnTo>
                  <a:lnTo>
                    <a:pt x="7537" y="2045"/>
                  </a:lnTo>
                  <a:lnTo>
                    <a:pt x="7518" y="2056"/>
                  </a:lnTo>
                  <a:lnTo>
                    <a:pt x="7499" y="2067"/>
                  </a:lnTo>
                  <a:lnTo>
                    <a:pt x="7477" y="2076"/>
                  </a:lnTo>
                  <a:lnTo>
                    <a:pt x="7456" y="2085"/>
                  </a:lnTo>
                  <a:lnTo>
                    <a:pt x="7433" y="2094"/>
                  </a:lnTo>
                  <a:lnTo>
                    <a:pt x="7410" y="2100"/>
                  </a:lnTo>
                  <a:lnTo>
                    <a:pt x="7387" y="2106"/>
                  </a:lnTo>
                  <a:lnTo>
                    <a:pt x="7362" y="2111"/>
                  </a:lnTo>
                  <a:lnTo>
                    <a:pt x="7337" y="2115"/>
                  </a:lnTo>
                  <a:lnTo>
                    <a:pt x="7311" y="2117"/>
                  </a:lnTo>
                  <a:lnTo>
                    <a:pt x="7285" y="2119"/>
                  </a:lnTo>
                  <a:lnTo>
                    <a:pt x="7259" y="2120"/>
                  </a:lnTo>
                  <a:lnTo>
                    <a:pt x="7243" y="2119"/>
                  </a:lnTo>
                  <a:lnTo>
                    <a:pt x="7227" y="2118"/>
                  </a:lnTo>
                  <a:lnTo>
                    <a:pt x="7210" y="2117"/>
                  </a:lnTo>
                  <a:lnTo>
                    <a:pt x="7194" y="2115"/>
                  </a:lnTo>
                  <a:lnTo>
                    <a:pt x="7177" y="2112"/>
                  </a:lnTo>
                  <a:lnTo>
                    <a:pt x="7160" y="2108"/>
                  </a:lnTo>
                  <a:lnTo>
                    <a:pt x="7144" y="2104"/>
                  </a:lnTo>
                  <a:lnTo>
                    <a:pt x="7128" y="2099"/>
                  </a:lnTo>
                  <a:lnTo>
                    <a:pt x="7111" y="2094"/>
                  </a:lnTo>
                  <a:lnTo>
                    <a:pt x="7096" y="2087"/>
                  </a:lnTo>
                  <a:lnTo>
                    <a:pt x="7080" y="2080"/>
                  </a:lnTo>
                  <a:lnTo>
                    <a:pt x="7065" y="2073"/>
                  </a:lnTo>
                  <a:lnTo>
                    <a:pt x="7050" y="2065"/>
                  </a:lnTo>
                  <a:lnTo>
                    <a:pt x="7035" y="2057"/>
                  </a:lnTo>
                  <a:lnTo>
                    <a:pt x="7021" y="2047"/>
                  </a:lnTo>
                  <a:lnTo>
                    <a:pt x="7007" y="2037"/>
                  </a:lnTo>
                  <a:lnTo>
                    <a:pt x="6993" y="2027"/>
                  </a:lnTo>
                  <a:lnTo>
                    <a:pt x="6980" y="2016"/>
                  </a:lnTo>
                  <a:lnTo>
                    <a:pt x="6968" y="2004"/>
                  </a:lnTo>
                  <a:lnTo>
                    <a:pt x="6957" y="1991"/>
                  </a:lnTo>
                  <a:lnTo>
                    <a:pt x="6946" y="1978"/>
                  </a:lnTo>
                  <a:lnTo>
                    <a:pt x="6936" y="1964"/>
                  </a:lnTo>
                  <a:lnTo>
                    <a:pt x="6926" y="1949"/>
                  </a:lnTo>
                  <a:lnTo>
                    <a:pt x="6918" y="1934"/>
                  </a:lnTo>
                  <a:lnTo>
                    <a:pt x="6910" y="1918"/>
                  </a:lnTo>
                  <a:lnTo>
                    <a:pt x="6903" y="1901"/>
                  </a:lnTo>
                  <a:lnTo>
                    <a:pt x="6898" y="1884"/>
                  </a:lnTo>
                  <a:lnTo>
                    <a:pt x="6893" y="1866"/>
                  </a:lnTo>
                  <a:lnTo>
                    <a:pt x="6889" y="1848"/>
                  </a:lnTo>
                  <a:lnTo>
                    <a:pt x="6886" y="1828"/>
                  </a:lnTo>
                  <a:lnTo>
                    <a:pt x="6884" y="1808"/>
                  </a:lnTo>
                  <a:lnTo>
                    <a:pt x="6884" y="1788"/>
                  </a:lnTo>
                  <a:lnTo>
                    <a:pt x="6884" y="1766"/>
                  </a:lnTo>
                  <a:lnTo>
                    <a:pt x="6886" y="1746"/>
                  </a:lnTo>
                  <a:lnTo>
                    <a:pt x="6889" y="1726"/>
                  </a:lnTo>
                  <a:lnTo>
                    <a:pt x="6893" y="1706"/>
                  </a:lnTo>
                  <a:lnTo>
                    <a:pt x="6898" y="1688"/>
                  </a:lnTo>
                  <a:lnTo>
                    <a:pt x="6903" y="1671"/>
                  </a:lnTo>
                  <a:lnTo>
                    <a:pt x="6910" y="1654"/>
                  </a:lnTo>
                  <a:lnTo>
                    <a:pt x="6918" y="1639"/>
                  </a:lnTo>
                  <a:lnTo>
                    <a:pt x="6926" y="1624"/>
                  </a:lnTo>
                  <a:lnTo>
                    <a:pt x="6936" y="1609"/>
                  </a:lnTo>
                  <a:lnTo>
                    <a:pt x="6946" y="1596"/>
                  </a:lnTo>
                  <a:lnTo>
                    <a:pt x="6957" y="1583"/>
                  </a:lnTo>
                  <a:lnTo>
                    <a:pt x="6968" y="1570"/>
                  </a:lnTo>
                  <a:lnTo>
                    <a:pt x="6980" y="1559"/>
                  </a:lnTo>
                  <a:lnTo>
                    <a:pt x="6993" y="1548"/>
                  </a:lnTo>
                  <a:lnTo>
                    <a:pt x="7007" y="1538"/>
                  </a:lnTo>
                  <a:lnTo>
                    <a:pt x="7021" y="1529"/>
                  </a:lnTo>
                  <a:lnTo>
                    <a:pt x="7035" y="1520"/>
                  </a:lnTo>
                  <a:lnTo>
                    <a:pt x="7050" y="1512"/>
                  </a:lnTo>
                  <a:lnTo>
                    <a:pt x="7065" y="1505"/>
                  </a:lnTo>
                  <a:lnTo>
                    <a:pt x="7080" y="1499"/>
                  </a:lnTo>
                  <a:lnTo>
                    <a:pt x="7096" y="1493"/>
                  </a:lnTo>
                  <a:lnTo>
                    <a:pt x="7111" y="1487"/>
                  </a:lnTo>
                  <a:lnTo>
                    <a:pt x="7128" y="1482"/>
                  </a:lnTo>
                  <a:lnTo>
                    <a:pt x="7144" y="1478"/>
                  </a:lnTo>
                  <a:lnTo>
                    <a:pt x="7160" y="1475"/>
                  </a:lnTo>
                  <a:lnTo>
                    <a:pt x="7177" y="1472"/>
                  </a:lnTo>
                  <a:lnTo>
                    <a:pt x="7194" y="1469"/>
                  </a:lnTo>
                  <a:lnTo>
                    <a:pt x="7210" y="1467"/>
                  </a:lnTo>
                  <a:lnTo>
                    <a:pt x="7227" y="1466"/>
                  </a:lnTo>
                  <a:lnTo>
                    <a:pt x="7243" y="1465"/>
                  </a:lnTo>
                  <a:lnTo>
                    <a:pt x="7259" y="1465"/>
                  </a:lnTo>
                  <a:lnTo>
                    <a:pt x="7286" y="1465"/>
                  </a:lnTo>
                  <a:lnTo>
                    <a:pt x="7312" y="1467"/>
                  </a:lnTo>
                  <a:lnTo>
                    <a:pt x="7338" y="1469"/>
                  </a:lnTo>
                  <a:lnTo>
                    <a:pt x="7363" y="1473"/>
                  </a:lnTo>
                  <a:lnTo>
                    <a:pt x="7388" y="1477"/>
                  </a:lnTo>
                  <a:lnTo>
                    <a:pt x="7412" y="1483"/>
                  </a:lnTo>
                  <a:lnTo>
                    <a:pt x="7435" y="1489"/>
                  </a:lnTo>
                  <a:lnTo>
                    <a:pt x="7457" y="1496"/>
                  </a:lnTo>
                  <a:lnTo>
                    <a:pt x="7479" y="1504"/>
                  </a:lnTo>
                  <a:lnTo>
                    <a:pt x="7500" y="1513"/>
                  </a:lnTo>
                  <a:lnTo>
                    <a:pt x="7520" y="1523"/>
                  </a:lnTo>
                  <a:lnTo>
                    <a:pt x="7539" y="1534"/>
                  </a:lnTo>
                  <a:lnTo>
                    <a:pt x="7556" y="1546"/>
                  </a:lnTo>
                  <a:lnTo>
                    <a:pt x="7573" y="1558"/>
                  </a:lnTo>
                  <a:lnTo>
                    <a:pt x="7588" y="1572"/>
                  </a:lnTo>
                  <a:lnTo>
                    <a:pt x="7602" y="1587"/>
                  </a:lnTo>
                  <a:lnTo>
                    <a:pt x="7602" y="1452"/>
                  </a:lnTo>
                  <a:lnTo>
                    <a:pt x="7601" y="1442"/>
                  </a:lnTo>
                  <a:lnTo>
                    <a:pt x="7601" y="1433"/>
                  </a:lnTo>
                  <a:lnTo>
                    <a:pt x="7599" y="1424"/>
                  </a:lnTo>
                  <a:lnTo>
                    <a:pt x="7597" y="1415"/>
                  </a:lnTo>
                  <a:lnTo>
                    <a:pt x="7595" y="1407"/>
                  </a:lnTo>
                  <a:lnTo>
                    <a:pt x="7592" y="1399"/>
                  </a:lnTo>
                  <a:lnTo>
                    <a:pt x="7589" y="1391"/>
                  </a:lnTo>
                  <a:lnTo>
                    <a:pt x="7585" y="1383"/>
                  </a:lnTo>
                  <a:lnTo>
                    <a:pt x="7581" y="1376"/>
                  </a:lnTo>
                  <a:lnTo>
                    <a:pt x="7576" y="1368"/>
                  </a:lnTo>
                  <a:lnTo>
                    <a:pt x="7570" y="1361"/>
                  </a:lnTo>
                  <a:lnTo>
                    <a:pt x="7565" y="1355"/>
                  </a:lnTo>
                  <a:lnTo>
                    <a:pt x="7552" y="1342"/>
                  </a:lnTo>
                  <a:lnTo>
                    <a:pt x="7537" y="1331"/>
                  </a:lnTo>
                  <a:lnTo>
                    <a:pt x="7521" y="1319"/>
                  </a:lnTo>
                  <a:lnTo>
                    <a:pt x="7503" y="1310"/>
                  </a:lnTo>
                  <a:lnTo>
                    <a:pt x="7483" y="1302"/>
                  </a:lnTo>
                  <a:lnTo>
                    <a:pt x="7462" y="1296"/>
                  </a:lnTo>
                  <a:lnTo>
                    <a:pt x="7440" y="1291"/>
                  </a:lnTo>
                  <a:lnTo>
                    <a:pt x="7416" y="1287"/>
                  </a:lnTo>
                  <a:lnTo>
                    <a:pt x="7391" y="1285"/>
                  </a:lnTo>
                  <a:lnTo>
                    <a:pt x="7365" y="1284"/>
                  </a:lnTo>
                  <a:lnTo>
                    <a:pt x="7343" y="1285"/>
                  </a:lnTo>
                  <a:lnTo>
                    <a:pt x="7321" y="1286"/>
                  </a:lnTo>
                  <a:lnTo>
                    <a:pt x="7300" y="1288"/>
                  </a:lnTo>
                  <a:lnTo>
                    <a:pt x="7279" y="1291"/>
                  </a:lnTo>
                  <a:lnTo>
                    <a:pt x="7258" y="1296"/>
                  </a:lnTo>
                  <a:lnTo>
                    <a:pt x="7238" y="1301"/>
                  </a:lnTo>
                  <a:lnTo>
                    <a:pt x="7218" y="1306"/>
                  </a:lnTo>
                  <a:lnTo>
                    <a:pt x="7198" y="1313"/>
                  </a:lnTo>
                  <a:lnTo>
                    <a:pt x="7178" y="1321"/>
                  </a:lnTo>
                  <a:lnTo>
                    <a:pt x="7158" y="1331"/>
                  </a:lnTo>
                  <a:lnTo>
                    <a:pt x="7139" y="1340"/>
                  </a:lnTo>
                  <a:lnTo>
                    <a:pt x="7120" y="1351"/>
                  </a:lnTo>
                  <a:lnTo>
                    <a:pt x="7102" y="1362"/>
                  </a:lnTo>
                  <a:lnTo>
                    <a:pt x="7084" y="1375"/>
                  </a:lnTo>
                  <a:lnTo>
                    <a:pt x="7066" y="1388"/>
                  </a:lnTo>
                  <a:lnTo>
                    <a:pt x="7049" y="1402"/>
                  </a:lnTo>
                  <a:lnTo>
                    <a:pt x="6941" y="1226"/>
                  </a:lnTo>
                  <a:lnTo>
                    <a:pt x="6966" y="1207"/>
                  </a:lnTo>
                  <a:lnTo>
                    <a:pt x="6992" y="1188"/>
                  </a:lnTo>
                  <a:lnTo>
                    <a:pt x="7020" y="1171"/>
                  </a:lnTo>
                  <a:lnTo>
                    <a:pt x="7047" y="1156"/>
                  </a:lnTo>
                  <a:lnTo>
                    <a:pt x="7075" y="1142"/>
                  </a:lnTo>
                  <a:lnTo>
                    <a:pt x="7104" y="1129"/>
                  </a:lnTo>
                  <a:lnTo>
                    <a:pt x="7133" y="1117"/>
                  </a:lnTo>
                  <a:lnTo>
                    <a:pt x="7163" y="1107"/>
                  </a:lnTo>
                  <a:lnTo>
                    <a:pt x="7194" y="1098"/>
                  </a:lnTo>
                  <a:lnTo>
                    <a:pt x="7224" y="1090"/>
                  </a:lnTo>
                  <a:lnTo>
                    <a:pt x="7255" y="1084"/>
                  </a:lnTo>
                  <a:lnTo>
                    <a:pt x="7286" y="1078"/>
                  </a:lnTo>
                  <a:lnTo>
                    <a:pt x="7318" y="1073"/>
                  </a:lnTo>
                  <a:lnTo>
                    <a:pt x="7350" y="1070"/>
                  </a:lnTo>
                  <a:lnTo>
                    <a:pt x="7382" y="1069"/>
                  </a:lnTo>
                  <a:lnTo>
                    <a:pt x="7414" y="1068"/>
                  </a:lnTo>
                  <a:lnTo>
                    <a:pt x="7437" y="1068"/>
                  </a:lnTo>
                  <a:lnTo>
                    <a:pt x="7459" y="1069"/>
                  </a:lnTo>
                  <a:lnTo>
                    <a:pt x="7482" y="1070"/>
                  </a:lnTo>
                  <a:lnTo>
                    <a:pt x="7505" y="1072"/>
                  </a:lnTo>
                  <a:lnTo>
                    <a:pt x="7527" y="1076"/>
                  </a:lnTo>
                  <a:lnTo>
                    <a:pt x="7549" y="1079"/>
                  </a:lnTo>
                  <a:lnTo>
                    <a:pt x="7570" y="1083"/>
                  </a:lnTo>
                  <a:lnTo>
                    <a:pt x="7591" y="1088"/>
                  </a:lnTo>
                  <a:lnTo>
                    <a:pt x="7612" y="1093"/>
                  </a:lnTo>
                  <a:lnTo>
                    <a:pt x="7632" y="1099"/>
                  </a:lnTo>
                  <a:lnTo>
                    <a:pt x="7653" y="1105"/>
                  </a:lnTo>
                  <a:lnTo>
                    <a:pt x="7672" y="1113"/>
                  </a:lnTo>
                  <a:lnTo>
                    <a:pt x="7691" y="1121"/>
                  </a:lnTo>
                  <a:lnTo>
                    <a:pt x="7708" y="1130"/>
                  </a:lnTo>
                  <a:lnTo>
                    <a:pt x="7726" y="1139"/>
                  </a:lnTo>
                  <a:lnTo>
                    <a:pt x="7742" y="1150"/>
                  </a:lnTo>
                  <a:lnTo>
                    <a:pt x="7758" y="1161"/>
                  </a:lnTo>
                  <a:lnTo>
                    <a:pt x="7773" y="1174"/>
                  </a:lnTo>
                  <a:lnTo>
                    <a:pt x="7788" y="1187"/>
                  </a:lnTo>
                  <a:lnTo>
                    <a:pt x="7801" y="1201"/>
                  </a:lnTo>
                  <a:lnTo>
                    <a:pt x="7815" y="1217"/>
                  </a:lnTo>
                  <a:lnTo>
                    <a:pt x="7827" y="1232"/>
                  </a:lnTo>
                  <a:lnTo>
                    <a:pt x="7838" y="1249"/>
                  </a:lnTo>
                  <a:lnTo>
                    <a:pt x="7847" y="1267"/>
                  </a:lnTo>
                  <a:lnTo>
                    <a:pt x="7856" y="1286"/>
                  </a:lnTo>
                  <a:lnTo>
                    <a:pt x="7864" y="1305"/>
                  </a:lnTo>
                  <a:lnTo>
                    <a:pt x="7871" y="1326"/>
                  </a:lnTo>
                  <a:lnTo>
                    <a:pt x="7876" y="1349"/>
                  </a:lnTo>
                  <a:lnTo>
                    <a:pt x="7881" y="1372"/>
                  </a:lnTo>
                  <a:lnTo>
                    <a:pt x="7884" y="1396"/>
                  </a:lnTo>
                  <a:lnTo>
                    <a:pt x="7886" y="1421"/>
                  </a:lnTo>
                  <a:lnTo>
                    <a:pt x="7886" y="1447"/>
                  </a:lnTo>
                  <a:lnTo>
                    <a:pt x="7886" y="2095"/>
                  </a:lnTo>
                  <a:lnTo>
                    <a:pt x="7602" y="2095"/>
                  </a:lnTo>
                  <a:close/>
                  <a:moveTo>
                    <a:pt x="7602" y="1854"/>
                  </a:moveTo>
                  <a:lnTo>
                    <a:pt x="7602" y="1854"/>
                  </a:lnTo>
                  <a:lnTo>
                    <a:pt x="7602" y="1730"/>
                  </a:lnTo>
                  <a:lnTo>
                    <a:pt x="7592" y="1720"/>
                  </a:lnTo>
                  <a:lnTo>
                    <a:pt x="7582" y="1710"/>
                  </a:lnTo>
                  <a:lnTo>
                    <a:pt x="7571" y="1700"/>
                  </a:lnTo>
                  <a:lnTo>
                    <a:pt x="7559" y="1691"/>
                  </a:lnTo>
                  <a:lnTo>
                    <a:pt x="7547" y="1684"/>
                  </a:lnTo>
                  <a:lnTo>
                    <a:pt x="7533" y="1676"/>
                  </a:lnTo>
                  <a:lnTo>
                    <a:pt x="7519" y="1670"/>
                  </a:lnTo>
                  <a:lnTo>
                    <a:pt x="7505" y="1664"/>
                  </a:lnTo>
                  <a:lnTo>
                    <a:pt x="7490" y="1659"/>
                  </a:lnTo>
                  <a:lnTo>
                    <a:pt x="7473" y="1655"/>
                  </a:lnTo>
                  <a:lnTo>
                    <a:pt x="7457" y="1651"/>
                  </a:lnTo>
                  <a:lnTo>
                    <a:pt x="7441" y="1648"/>
                  </a:lnTo>
                  <a:lnTo>
                    <a:pt x="7424" y="1646"/>
                  </a:lnTo>
                  <a:lnTo>
                    <a:pt x="7408" y="1644"/>
                  </a:lnTo>
                  <a:lnTo>
                    <a:pt x="7391" y="1643"/>
                  </a:lnTo>
                  <a:lnTo>
                    <a:pt x="7374" y="1643"/>
                  </a:lnTo>
                  <a:lnTo>
                    <a:pt x="7353" y="1643"/>
                  </a:lnTo>
                  <a:lnTo>
                    <a:pt x="7333" y="1645"/>
                  </a:lnTo>
                  <a:lnTo>
                    <a:pt x="7313" y="1648"/>
                  </a:lnTo>
                  <a:lnTo>
                    <a:pt x="7294" y="1652"/>
                  </a:lnTo>
                  <a:lnTo>
                    <a:pt x="7277" y="1658"/>
                  </a:lnTo>
                  <a:lnTo>
                    <a:pt x="7260" y="1665"/>
                  </a:lnTo>
                  <a:lnTo>
                    <a:pt x="7244" y="1672"/>
                  </a:lnTo>
                  <a:lnTo>
                    <a:pt x="7230" y="1681"/>
                  </a:lnTo>
                  <a:lnTo>
                    <a:pt x="7217" y="1692"/>
                  </a:lnTo>
                  <a:lnTo>
                    <a:pt x="7205" y="1703"/>
                  </a:lnTo>
                  <a:lnTo>
                    <a:pt x="7195" y="1716"/>
                  </a:lnTo>
                  <a:lnTo>
                    <a:pt x="7186" y="1730"/>
                  </a:lnTo>
                  <a:lnTo>
                    <a:pt x="7183" y="1737"/>
                  </a:lnTo>
                  <a:lnTo>
                    <a:pt x="7180" y="1744"/>
                  </a:lnTo>
                  <a:lnTo>
                    <a:pt x="7177" y="1752"/>
                  </a:lnTo>
                  <a:lnTo>
                    <a:pt x="7175" y="1759"/>
                  </a:lnTo>
                  <a:lnTo>
                    <a:pt x="7173" y="1768"/>
                  </a:lnTo>
                  <a:lnTo>
                    <a:pt x="7172" y="1776"/>
                  </a:lnTo>
                  <a:lnTo>
                    <a:pt x="7171" y="1785"/>
                  </a:lnTo>
                  <a:lnTo>
                    <a:pt x="7170" y="1794"/>
                  </a:lnTo>
                  <a:lnTo>
                    <a:pt x="7171" y="1802"/>
                  </a:lnTo>
                  <a:lnTo>
                    <a:pt x="7172" y="1811"/>
                  </a:lnTo>
                  <a:lnTo>
                    <a:pt x="7173" y="1819"/>
                  </a:lnTo>
                  <a:lnTo>
                    <a:pt x="7175" y="1827"/>
                  </a:lnTo>
                  <a:lnTo>
                    <a:pt x="7177" y="1834"/>
                  </a:lnTo>
                  <a:lnTo>
                    <a:pt x="7180" y="1843"/>
                  </a:lnTo>
                  <a:lnTo>
                    <a:pt x="7183" y="1850"/>
                  </a:lnTo>
                  <a:lnTo>
                    <a:pt x="7186" y="1857"/>
                  </a:lnTo>
                  <a:lnTo>
                    <a:pt x="7195" y="1870"/>
                  </a:lnTo>
                  <a:lnTo>
                    <a:pt x="7205" y="1882"/>
                  </a:lnTo>
                  <a:lnTo>
                    <a:pt x="7217" y="1893"/>
                  </a:lnTo>
                  <a:lnTo>
                    <a:pt x="7230" y="1902"/>
                  </a:lnTo>
                  <a:lnTo>
                    <a:pt x="7244" y="1911"/>
                  </a:lnTo>
                  <a:lnTo>
                    <a:pt x="7260" y="1919"/>
                  </a:lnTo>
                  <a:lnTo>
                    <a:pt x="7277" y="1926"/>
                  </a:lnTo>
                  <a:lnTo>
                    <a:pt x="7294" y="1931"/>
                  </a:lnTo>
                  <a:lnTo>
                    <a:pt x="7313" y="1935"/>
                  </a:lnTo>
                  <a:lnTo>
                    <a:pt x="7333" y="1938"/>
                  </a:lnTo>
                  <a:lnTo>
                    <a:pt x="7353" y="1940"/>
                  </a:lnTo>
                  <a:lnTo>
                    <a:pt x="7374" y="1941"/>
                  </a:lnTo>
                  <a:lnTo>
                    <a:pt x="7391" y="1940"/>
                  </a:lnTo>
                  <a:lnTo>
                    <a:pt x="7408" y="1939"/>
                  </a:lnTo>
                  <a:lnTo>
                    <a:pt x="7424" y="1938"/>
                  </a:lnTo>
                  <a:lnTo>
                    <a:pt x="7441" y="1935"/>
                  </a:lnTo>
                  <a:lnTo>
                    <a:pt x="7457" y="1932"/>
                  </a:lnTo>
                  <a:lnTo>
                    <a:pt x="7473" y="1929"/>
                  </a:lnTo>
                  <a:lnTo>
                    <a:pt x="7490" y="1924"/>
                  </a:lnTo>
                  <a:lnTo>
                    <a:pt x="7505" y="1919"/>
                  </a:lnTo>
                  <a:lnTo>
                    <a:pt x="7519" y="1913"/>
                  </a:lnTo>
                  <a:lnTo>
                    <a:pt x="7533" y="1907"/>
                  </a:lnTo>
                  <a:lnTo>
                    <a:pt x="7547" y="1900"/>
                  </a:lnTo>
                  <a:lnTo>
                    <a:pt x="7559" y="1892"/>
                  </a:lnTo>
                  <a:lnTo>
                    <a:pt x="7571" y="1884"/>
                  </a:lnTo>
                  <a:lnTo>
                    <a:pt x="7582" y="1875"/>
                  </a:lnTo>
                  <a:lnTo>
                    <a:pt x="7592" y="1865"/>
                  </a:lnTo>
                  <a:lnTo>
                    <a:pt x="7602" y="1854"/>
                  </a:lnTo>
                  <a:close/>
                  <a:moveTo>
                    <a:pt x="8147" y="2095"/>
                  </a:moveTo>
                  <a:lnTo>
                    <a:pt x="8147" y="1094"/>
                  </a:lnTo>
                  <a:lnTo>
                    <a:pt x="8431" y="1094"/>
                  </a:lnTo>
                  <a:lnTo>
                    <a:pt x="8431" y="1465"/>
                  </a:lnTo>
                  <a:lnTo>
                    <a:pt x="8878" y="1465"/>
                  </a:lnTo>
                  <a:lnTo>
                    <a:pt x="8878" y="1094"/>
                  </a:lnTo>
                  <a:lnTo>
                    <a:pt x="9163" y="1094"/>
                  </a:lnTo>
                  <a:lnTo>
                    <a:pt x="9163" y="2095"/>
                  </a:lnTo>
                  <a:lnTo>
                    <a:pt x="8878" y="2095"/>
                  </a:lnTo>
                  <a:lnTo>
                    <a:pt x="8878" y="1694"/>
                  </a:lnTo>
                  <a:lnTo>
                    <a:pt x="8431" y="1694"/>
                  </a:lnTo>
                  <a:lnTo>
                    <a:pt x="8431" y="2095"/>
                  </a:lnTo>
                  <a:lnTo>
                    <a:pt x="8147" y="2095"/>
                  </a:lnTo>
                  <a:close/>
                  <a:moveTo>
                    <a:pt x="10127" y="2095"/>
                  </a:moveTo>
                  <a:lnTo>
                    <a:pt x="9840" y="1710"/>
                  </a:lnTo>
                  <a:lnTo>
                    <a:pt x="9709" y="1838"/>
                  </a:lnTo>
                  <a:lnTo>
                    <a:pt x="9709" y="2095"/>
                  </a:lnTo>
                  <a:lnTo>
                    <a:pt x="9426" y="2095"/>
                  </a:lnTo>
                  <a:lnTo>
                    <a:pt x="9426" y="1094"/>
                  </a:lnTo>
                  <a:lnTo>
                    <a:pt x="9709" y="1094"/>
                  </a:lnTo>
                  <a:lnTo>
                    <a:pt x="9709" y="1539"/>
                  </a:lnTo>
                  <a:lnTo>
                    <a:pt x="10120" y="1094"/>
                  </a:lnTo>
                  <a:lnTo>
                    <a:pt x="10469" y="1094"/>
                  </a:lnTo>
                  <a:lnTo>
                    <a:pt x="10041" y="1547"/>
                  </a:lnTo>
                  <a:lnTo>
                    <a:pt x="10482" y="2095"/>
                  </a:lnTo>
                  <a:lnTo>
                    <a:pt x="10127" y="2095"/>
                  </a:lnTo>
                  <a:close/>
                  <a:moveTo>
                    <a:pt x="14428" y="1078"/>
                  </a:moveTo>
                  <a:lnTo>
                    <a:pt x="13892" y="3416"/>
                  </a:lnTo>
                  <a:lnTo>
                    <a:pt x="12440" y="3416"/>
                  </a:lnTo>
                  <a:lnTo>
                    <a:pt x="12977" y="1078"/>
                  </a:lnTo>
                  <a:lnTo>
                    <a:pt x="12555" y="0"/>
                  </a:lnTo>
                  <a:lnTo>
                    <a:pt x="14006" y="0"/>
                  </a:lnTo>
                  <a:lnTo>
                    <a:pt x="14428" y="1078"/>
                  </a:lnTo>
                  <a:close/>
                  <a:moveTo>
                    <a:pt x="16100" y="1078"/>
                  </a:moveTo>
                  <a:lnTo>
                    <a:pt x="15798" y="2391"/>
                  </a:lnTo>
                  <a:lnTo>
                    <a:pt x="15564" y="3416"/>
                  </a:lnTo>
                  <a:lnTo>
                    <a:pt x="15564" y="3416"/>
                  </a:lnTo>
                  <a:lnTo>
                    <a:pt x="14112" y="3416"/>
                  </a:lnTo>
                  <a:lnTo>
                    <a:pt x="14648" y="1078"/>
                  </a:lnTo>
                  <a:lnTo>
                    <a:pt x="14226" y="0"/>
                  </a:lnTo>
                  <a:lnTo>
                    <a:pt x="14226" y="0"/>
                  </a:lnTo>
                  <a:lnTo>
                    <a:pt x="15678" y="0"/>
                  </a:lnTo>
                  <a:lnTo>
                    <a:pt x="16100" y="1078"/>
                  </a:lnTo>
                  <a:close/>
                  <a:moveTo>
                    <a:pt x="15518" y="3302"/>
                  </a:moveTo>
                  <a:lnTo>
                    <a:pt x="14693" y="1191"/>
                  </a:lnTo>
                  <a:lnTo>
                    <a:pt x="14198" y="3346"/>
                  </a:lnTo>
                  <a:lnTo>
                    <a:pt x="15508" y="3346"/>
                  </a:lnTo>
                  <a:lnTo>
                    <a:pt x="15518" y="3302"/>
                  </a:lnTo>
                  <a:close/>
                  <a:moveTo>
                    <a:pt x="13847" y="3302"/>
                  </a:moveTo>
                  <a:lnTo>
                    <a:pt x="13021" y="1191"/>
                  </a:lnTo>
                  <a:lnTo>
                    <a:pt x="12527" y="3346"/>
                  </a:lnTo>
                  <a:lnTo>
                    <a:pt x="13837" y="3346"/>
                  </a:lnTo>
                  <a:lnTo>
                    <a:pt x="13847" y="3302"/>
                  </a:lnTo>
                  <a:close/>
                  <a:moveTo>
                    <a:pt x="12756" y="1078"/>
                  </a:moveTo>
                  <a:lnTo>
                    <a:pt x="12522" y="2097"/>
                  </a:lnTo>
                  <a:lnTo>
                    <a:pt x="12220" y="3416"/>
                  </a:lnTo>
                  <a:lnTo>
                    <a:pt x="12219" y="3416"/>
                  </a:lnTo>
                  <a:lnTo>
                    <a:pt x="10768" y="3416"/>
                  </a:lnTo>
                  <a:lnTo>
                    <a:pt x="11304" y="1078"/>
                  </a:lnTo>
                  <a:lnTo>
                    <a:pt x="11304" y="1078"/>
                  </a:lnTo>
                  <a:lnTo>
                    <a:pt x="10883" y="0"/>
                  </a:lnTo>
                  <a:lnTo>
                    <a:pt x="10883" y="0"/>
                  </a:lnTo>
                  <a:lnTo>
                    <a:pt x="12334" y="0"/>
                  </a:lnTo>
                  <a:lnTo>
                    <a:pt x="12335" y="0"/>
                  </a:lnTo>
                  <a:lnTo>
                    <a:pt x="12593" y="661"/>
                  </a:lnTo>
                  <a:lnTo>
                    <a:pt x="12756" y="1078"/>
                  </a:lnTo>
                  <a:close/>
                  <a:moveTo>
                    <a:pt x="12175" y="3303"/>
                  </a:moveTo>
                  <a:lnTo>
                    <a:pt x="11348" y="1191"/>
                  </a:lnTo>
                  <a:lnTo>
                    <a:pt x="10854" y="3346"/>
                  </a:lnTo>
                  <a:lnTo>
                    <a:pt x="12165" y="3346"/>
                  </a:lnTo>
                  <a:lnTo>
                    <a:pt x="12175" y="33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65" name="Рисунок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3363" y="39402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781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1021" y="1"/>
            <a:ext cx="1221284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71476" y="2815242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рет заемщик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71475" y="773768"/>
            <a:ext cx="1111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е кредитование </a:t>
            </a:r>
            <a:r>
              <a:rPr lang="en-US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ехнологических компаний в МСП Банке при участии Корпорации МС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1475" y="1853163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реализации стратегической инициативы «Взлет — от стартапа до </a:t>
            </a:r>
            <a:r>
              <a:rPr lang="en-US" sz="2200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O</a:t>
            </a:r>
            <a:r>
              <a:rPr lang="ru-RU" sz="2200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2200" b="1" spc="7" dirty="0">
              <a:solidFill>
                <a:schemeClr val="bg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31531" y="3621668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3621668"/>
            <a:ext cx="27238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от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31531" y="4253464"/>
            <a:ext cx="3047738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за 3 года более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918305" y="3653052"/>
            <a:ext cx="0" cy="2163508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31530" y="5177616"/>
            <a:ext cx="376475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экономической</a:t>
            </a:r>
            <a:r>
              <a:rPr lang="en-US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относится к приоритетным, продукция является</a:t>
            </a:r>
            <a:r>
              <a:rPr lang="en-US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 </a:t>
            </a:r>
            <a:b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инновационной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232982" y="4253464"/>
            <a:ext cx="31074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на результаты интеллектуальной деятельности (патент)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544284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%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574514" y="4087237"/>
            <a:ext cx="1743913" cy="5719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для заемщика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вые 3 года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4836679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лет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550434" y="5385673"/>
            <a:ext cx="1431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b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кредита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8462513" y="6167701"/>
            <a:ext cx="2936335" cy="273526"/>
            <a:chOff x="8453887" y="6223794"/>
            <a:chExt cx="2936335" cy="273526"/>
          </a:xfrm>
        </p:grpSpPr>
        <p:sp>
          <p:nvSpPr>
            <p:cNvPr id="30" name="Полилиния 29" descr="Прямоугольник">
              <a:extLst>
                <a:ext uri="{FF2B5EF4-FFF2-40B4-BE49-F238E27FC236}">
                  <a16:creationId xmlns:a16="http://schemas.microsoft.com/office/drawing/2014/main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887" y="6234467"/>
              <a:ext cx="1074825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200" spc="-12" dirty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лучить на</a:t>
              </a: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7511" y="6223794"/>
              <a:ext cx="1722711" cy="247535"/>
            </a:xfrm>
            <a:prstGeom prst="rect">
              <a:avLst/>
            </a:prstGeom>
          </p:spPr>
        </p:pic>
      </p:grpSp>
      <p:sp>
        <p:nvSpPr>
          <p:cNvPr id="7" name="Овал 6"/>
          <p:cNvSpPr/>
          <p:nvPr/>
        </p:nvSpPr>
        <p:spPr>
          <a:xfrm>
            <a:off x="371475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371475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371475" y="521450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4621774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4621774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33" y="3589427"/>
            <a:ext cx="327955" cy="32795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4319586"/>
            <a:ext cx="338132" cy="3381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5269461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842" y="3584595"/>
            <a:ext cx="338132" cy="33813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925" y="4346008"/>
            <a:ext cx="338132" cy="338132"/>
          </a:xfrm>
          <a:prstGeom prst="rect">
            <a:avLst/>
          </a:prstGeom>
        </p:spPr>
      </p:pic>
      <p:pic>
        <p:nvPicPr>
          <p:cNvPr id="46128" name="Picture 48" descr="http://qrcoder.ru/code/?https%3A%2F%2Fxn--l1agf.xn--p1ai%2Fhightech.new%2Fpromo%2F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160" y="5908689"/>
            <a:ext cx="802222" cy="80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07" y="376111"/>
            <a:ext cx="1187511" cy="292115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495" y="217344"/>
            <a:ext cx="1557553" cy="55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5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11">
            <a:extLst>
              <a:ext uri="{FF2B5EF4-FFF2-40B4-BE49-F238E27FC236}">
                <a16:creationId xmlns:a16="http://schemas.microsoft.com/office/drawing/2014/main" id="{EA5167BF-77E2-5F79-D778-2EAD77EA366D}"/>
              </a:ext>
            </a:extLst>
          </p:cNvPr>
          <p:cNvSpPr/>
          <p:nvPr/>
        </p:nvSpPr>
        <p:spPr>
          <a:xfrm>
            <a:off x="8796675" y="2906954"/>
            <a:ext cx="3101797" cy="1067155"/>
          </a:xfrm>
          <a:prstGeom prst="rect">
            <a:avLst/>
          </a:prstGeom>
          <a:solidFill>
            <a:srgbClr val="84E0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0" t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-150" normalizeH="0" baseline="0" noProof="0" dirty="0">
              <a:ln>
                <a:noFill/>
              </a:ln>
              <a:solidFill>
                <a:srgbClr val="222222">
                  <a:alpha val="7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Rectangle 11">
            <a:extLst>
              <a:ext uri="{FF2B5EF4-FFF2-40B4-BE49-F238E27FC236}">
                <a16:creationId xmlns:a16="http://schemas.microsoft.com/office/drawing/2014/main" id="{036C78CD-790F-FE85-2E21-EAD8E03640B3}"/>
              </a:ext>
            </a:extLst>
          </p:cNvPr>
          <p:cNvSpPr/>
          <p:nvPr/>
        </p:nvSpPr>
        <p:spPr>
          <a:xfrm>
            <a:off x="278269" y="2906954"/>
            <a:ext cx="2599842" cy="1067155"/>
          </a:xfrm>
          <a:prstGeom prst="rect">
            <a:avLst/>
          </a:prstGeom>
          <a:solidFill>
            <a:srgbClr val="84E0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0" t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-150" normalizeH="0" baseline="0" noProof="0" dirty="0">
              <a:ln>
                <a:noFill/>
              </a:ln>
              <a:solidFill>
                <a:srgbClr val="222222">
                  <a:alpha val="7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Rectangle 11">
            <a:extLst>
              <a:ext uri="{FF2B5EF4-FFF2-40B4-BE49-F238E27FC236}">
                <a16:creationId xmlns:a16="http://schemas.microsoft.com/office/drawing/2014/main" id="{75FCCCC2-867D-2C67-583E-7A2CAEADECBD}"/>
              </a:ext>
            </a:extLst>
          </p:cNvPr>
          <p:cNvSpPr/>
          <p:nvPr/>
        </p:nvSpPr>
        <p:spPr>
          <a:xfrm>
            <a:off x="3111410" y="2906954"/>
            <a:ext cx="2599842" cy="1067155"/>
          </a:xfrm>
          <a:prstGeom prst="rect">
            <a:avLst/>
          </a:prstGeom>
          <a:solidFill>
            <a:srgbClr val="84E0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0" t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-150" normalizeH="0" baseline="0" noProof="0" dirty="0">
              <a:ln>
                <a:noFill/>
              </a:ln>
              <a:solidFill>
                <a:srgbClr val="222222">
                  <a:alpha val="7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Rectangle 11">
            <a:extLst>
              <a:ext uri="{FF2B5EF4-FFF2-40B4-BE49-F238E27FC236}">
                <a16:creationId xmlns:a16="http://schemas.microsoft.com/office/drawing/2014/main" id="{8C843B39-819E-2726-B538-7ADBDE3DD4D7}"/>
              </a:ext>
            </a:extLst>
          </p:cNvPr>
          <p:cNvSpPr/>
          <p:nvPr/>
        </p:nvSpPr>
        <p:spPr>
          <a:xfrm>
            <a:off x="5944551" y="2906954"/>
            <a:ext cx="2599842" cy="1067155"/>
          </a:xfrm>
          <a:prstGeom prst="rect">
            <a:avLst/>
          </a:prstGeom>
          <a:solidFill>
            <a:srgbClr val="84E0F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0" tIns="0" r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-150" normalizeH="0" baseline="0" noProof="0" dirty="0">
              <a:ln>
                <a:noFill/>
              </a:ln>
              <a:solidFill>
                <a:srgbClr val="222222">
                  <a:alpha val="70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Slide Number Placeholder 24">
            <a:extLst>
              <a:ext uri="{FF2B5EF4-FFF2-40B4-BE49-F238E27FC236}">
                <a16:creationId xmlns:a16="http://schemas.microsoft.com/office/drawing/2014/main" id="{34701AD2-34EE-78F5-217B-EE3D0C85CCB1}"/>
              </a:ext>
            </a:extLst>
          </p:cNvPr>
          <p:cNvSpPr txBox="1">
            <a:spLocks/>
          </p:cNvSpPr>
          <p:nvPr/>
        </p:nvSpPr>
        <p:spPr>
          <a:xfrm>
            <a:off x="11333981" y="6376228"/>
            <a:ext cx="10038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C48702-E445-134E-B960-6F692773524F}" type="slidenum">
              <a:rPr kumimoji="0" lang="en-US" i="0" u="none" strike="noStrike" kern="1200" cap="none" spc="0" normalizeH="0" baseline="0" noProof="0" smtClean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ea typeface="Open Sans SemiBold" charset="0"/>
                <a:cs typeface="Golos UI" panose="020B0504020202020204" pitchFamily="34" charset="-52"/>
              </a:rPr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ea typeface="Open Sans SemiBold" charset="0"/>
              <a:cs typeface="Golos UI" panose="020B0504020202020204" pitchFamily="34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79B6366-C06A-D5DF-8D5E-83ABBF88B7D2}"/>
              </a:ext>
            </a:extLst>
          </p:cNvPr>
          <p:cNvSpPr/>
          <p:nvPr/>
        </p:nvSpPr>
        <p:spPr>
          <a:xfrm>
            <a:off x="0" y="-1"/>
            <a:ext cx="12192000" cy="20386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6E93181-E734-FE75-E52E-3BFA460AD600}"/>
              </a:ext>
            </a:extLst>
          </p:cNvPr>
          <p:cNvGrpSpPr/>
          <p:nvPr/>
        </p:nvGrpSpPr>
        <p:grpSpPr>
          <a:xfrm>
            <a:off x="289998" y="299044"/>
            <a:ext cx="1765558" cy="276999"/>
            <a:chOff x="9353064" y="5090482"/>
            <a:chExt cx="3312277" cy="276999"/>
          </a:xfrm>
        </p:grpSpPr>
        <p:sp>
          <p:nvSpPr>
            <p:cNvPr id="17" name="Скругленный прямоугольник 16">
              <a:extLst>
                <a:ext uri="{FF2B5EF4-FFF2-40B4-BE49-F238E27FC236}">
                  <a16:creationId xmlns:a16="http://schemas.microsoft.com/office/drawing/2014/main" id="{CCBCA161-CA2E-DBF6-9377-964DF17F230A}"/>
                </a:ext>
              </a:extLst>
            </p:cNvPr>
            <p:cNvSpPr/>
            <p:nvPr/>
          </p:nvSpPr>
          <p:spPr>
            <a:xfrm>
              <a:off x="9353064" y="5103688"/>
              <a:ext cx="3312277" cy="248876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630C1A05-6FB2-2438-32E1-9443D3BAECE1}"/>
                </a:ext>
              </a:extLst>
            </p:cNvPr>
            <p:cNvSpPr/>
            <p:nvPr/>
          </p:nvSpPr>
          <p:spPr>
            <a:xfrm>
              <a:off x="10011299" y="5090482"/>
              <a:ext cx="199580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СП Банк</a:t>
              </a:r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D8E8046-F85C-C52C-8BD0-749CDC12D4BB}"/>
              </a:ext>
            </a:extLst>
          </p:cNvPr>
          <p:cNvSpPr/>
          <p:nvPr/>
        </p:nvSpPr>
        <p:spPr>
          <a:xfrm>
            <a:off x="278269" y="794674"/>
            <a:ext cx="6017600" cy="48731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BBFBA27-233A-867C-05D8-0C58A693FE44}"/>
              </a:ext>
            </a:extLst>
          </p:cNvPr>
          <p:cNvSpPr/>
          <p:nvPr/>
        </p:nvSpPr>
        <p:spPr>
          <a:xfrm>
            <a:off x="355907" y="814771"/>
            <a:ext cx="8503279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Гарантийная поддержка</a:t>
            </a:r>
            <a:br>
              <a:rPr lang="ru-RU" sz="3600" dirty="0">
                <a:solidFill>
                  <a:srgbClr val="222222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бъектов МСП</a:t>
            </a:r>
          </a:p>
        </p:txBody>
      </p:sp>
      <p:grpSp>
        <p:nvGrpSpPr>
          <p:cNvPr id="22" name="Group 148">
            <a:extLst>
              <a:ext uri="{FF2B5EF4-FFF2-40B4-BE49-F238E27FC236}">
                <a16:creationId xmlns:a16="http://schemas.microsoft.com/office/drawing/2014/main" id="{68B902E1-37CF-F7CE-3489-E4F019319C1D}"/>
              </a:ext>
            </a:extLst>
          </p:cNvPr>
          <p:cNvGrpSpPr/>
          <p:nvPr/>
        </p:nvGrpSpPr>
        <p:grpSpPr>
          <a:xfrm>
            <a:off x="6574138" y="757699"/>
            <a:ext cx="1028891" cy="1063061"/>
            <a:chOff x="3560763" y="3257550"/>
            <a:chExt cx="1720850" cy="1777999"/>
          </a:xfrm>
          <a:solidFill>
            <a:srgbClr val="84E0F7"/>
          </a:solidFill>
        </p:grpSpPr>
        <p:grpSp>
          <p:nvGrpSpPr>
            <p:cNvPr id="23" name="Group 147">
              <a:extLst>
                <a:ext uri="{FF2B5EF4-FFF2-40B4-BE49-F238E27FC236}">
                  <a16:creationId xmlns:a16="http://schemas.microsoft.com/office/drawing/2014/main" id="{D0ACBDB3-0DEC-EEA8-2D18-EF848AA4B7FA}"/>
                </a:ext>
              </a:extLst>
            </p:cNvPr>
            <p:cNvGrpSpPr/>
            <p:nvPr/>
          </p:nvGrpSpPr>
          <p:grpSpPr>
            <a:xfrm>
              <a:off x="4016375" y="3373438"/>
              <a:ext cx="800101" cy="1392237"/>
              <a:chOff x="4016375" y="3373438"/>
              <a:chExt cx="800101" cy="1392237"/>
            </a:xfrm>
            <a:grpFill/>
          </p:grpSpPr>
          <p:sp>
            <p:nvSpPr>
              <p:cNvPr id="25" name="Freeform 123">
                <a:extLst>
                  <a:ext uri="{FF2B5EF4-FFF2-40B4-BE49-F238E27FC236}">
                    <a16:creationId xmlns:a16="http://schemas.microsoft.com/office/drawing/2014/main" id="{3AADE63E-5E99-9478-B261-BCE3FA7799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76700" y="3373438"/>
                <a:ext cx="657225" cy="654050"/>
              </a:xfrm>
              <a:custGeom>
                <a:avLst/>
                <a:gdLst>
                  <a:gd name="T0" fmla="*/ 725 w 786"/>
                  <a:gd name="T1" fmla="*/ 773 h 785"/>
                  <a:gd name="T2" fmla="*/ 758 w 786"/>
                  <a:gd name="T3" fmla="*/ 782 h 785"/>
                  <a:gd name="T4" fmla="*/ 783 w 786"/>
                  <a:gd name="T5" fmla="*/ 757 h 785"/>
                  <a:gd name="T6" fmla="*/ 773 w 786"/>
                  <a:gd name="T7" fmla="*/ 724 h 785"/>
                  <a:gd name="T8" fmla="*/ 580 w 786"/>
                  <a:gd name="T9" fmla="*/ 530 h 785"/>
                  <a:gd name="T10" fmla="*/ 544 w 786"/>
                  <a:gd name="T11" fmla="*/ 109 h 785"/>
                  <a:gd name="T12" fmla="*/ 121 w 786"/>
                  <a:gd name="T13" fmla="*/ 120 h 785"/>
                  <a:gd name="T14" fmla="*/ 109 w 786"/>
                  <a:gd name="T15" fmla="*/ 543 h 785"/>
                  <a:gd name="T16" fmla="*/ 531 w 786"/>
                  <a:gd name="T17" fmla="*/ 579 h 785"/>
                  <a:gd name="T18" fmla="*/ 725 w 786"/>
                  <a:gd name="T19" fmla="*/ 773 h 785"/>
                  <a:gd name="T20" fmla="*/ 442 w 786"/>
                  <a:gd name="T21" fmla="*/ 554 h 785"/>
                  <a:gd name="T22" fmla="*/ 237 w 786"/>
                  <a:gd name="T23" fmla="*/ 554 h 785"/>
                  <a:gd name="T24" fmla="*/ 237 w 786"/>
                  <a:gd name="T25" fmla="*/ 524 h 785"/>
                  <a:gd name="T26" fmla="*/ 340 w 786"/>
                  <a:gd name="T27" fmla="*/ 441 h 785"/>
                  <a:gd name="T28" fmla="*/ 414 w 786"/>
                  <a:gd name="T29" fmla="*/ 468 h 785"/>
                  <a:gd name="T30" fmla="*/ 442 w 786"/>
                  <a:gd name="T31" fmla="*/ 524 h 785"/>
                  <a:gd name="T32" fmla="*/ 442 w 786"/>
                  <a:gd name="T33" fmla="*/ 554 h 785"/>
                  <a:gd name="T34" fmla="*/ 271 w 786"/>
                  <a:gd name="T35" fmla="*/ 305 h 785"/>
                  <a:gd name="T36" fmla="*/ 340 w 786"/>
                  <a:gd name="T37" fmla="*/ 236 h 785"/>
                  <a:gd name="T38" fmla="*/ 408 w 786"/>
                  <a:gd name="T39" fmla="*/ 305 h 785"/>
                  <a:gd name="T40" fmla="*/ 340 w 786"/>
                  <a:gd name="T41" fmla="*/ 373 h 785"/>
                  <a:gd name="T42" fmla="*/ 271 w 786"/>
                  <a:gd name="T43" fmla="*/ 305 h 785"/>
                  <a:gd name="T44" fmla="*/ 458 w 786"/>
                  <a:gd name="T45" fmla="*/ 416 h 785"/>
                  <a:gd name="T46" fmla="*/ 437 w 786"/>
                  <a:gd name="T47" fmla="*/ 400 h 785"/>
                  <a:gd name="T48" fmla="*/ 436 w 786"/>
                  <a:gd name="T49" fmla="*/ 208 h 785"/>
                  <a:gd name="T50" fmla="*/ 244 w 786"/>
                  <a:gd name="T51" fmla="*/ 208 h 785"/>
                  <a:gd name="T52" fmla="*/ 242 w 786"/>
                  <a:gd name="T53" fmla="*/ 400 h 785"/>
                  <a:gd name="T54" fmla="*/ 171 w 786"/>
                  <a:gd name="T55" fmla="*/ 508 h 785"/>
                  <a:gd name="T56" fmla="*/ 101 w 786"/>
                  <a:gd name="T57" fmla="*/ 339 h 785"/>
                  <a:gd name="T58" fmla="*/ 278 w 786"/>
                  <a:gd name="T59" fmla="*/ 108 h 785"/>
                  <a:gd name="T60" fmla="*/ 547 w 786"/>
                  <a:gd name="T61" fmla="*/ 219 h 785"/>
                  <a:gd name="T62" fmla="*/ 509 w 786"/>
                  <a:gd name="T63" fmla="*/ 508 h 785"/>
                  <a:gd name="T64" fmla="*/ 458 w 786"/>
                  <a:gd name="T65" fmla="*/ 416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86" h="785">
                    <a:moveTo>
                      <a:pt x="725" y="773"/>
                    </a:moveTo>
                    <a:cubicBezTo>
                      <a:pt x="734" y="781"/>
                      <a:pt x="746" y="785"/>
                      <a:pt x="758" y="782"/>
                    </a:cubicBezTo>
                    <a:cubicBezTo>
                      <a:pt x="770" y="779"/>
                      <a:pt x="779" y="769"/>
                      <a:pt x="783" y="757"/>
                    </a:cubicBezTo>
                    <a:cubicBezTo>
                      <a:pt x="786" y="746"/>
                      <a:pt x="782" y="733"/>
                      <a:pt x="773" y="724"/>
                    </a:cubicBezTo>
                    <a:cubicBezTo>
                      <a:pt x="580" y="530"/>
                      <a:pt x="580" y="530"/>
                      <a:pt x="580" y="530"/>
                    </a:cubicBezTo>
                    <a:cubicBezTo>
                      <a:pt x="682" y="403"/>
                      <a:pt x="666" y="218"/>
                      <a:pt x="544" y="109"/>
                    </a:cubicBezTo>
                    <a:cubicBezTo>
                      <a:pt x="422" y="0"/>
                      <a:pt x="237" y="5"/>
                      <a:pt x="121" y="120"/>
                    </a:cubicBezTo>
                    <a:cubicBezTo>
                      <a:pt x="6" y="236"/>
                      <a:pt x="0" y="422"/>
                      <a:pt x="109" y="543"/>
                    </a:cubicBezTo>
                    <a:cubicBezTo>
                      <a:pt x="218" y="665"/>
                      <a:pt x="404" y="681"/>
                      <a:pt x="531" y="579"/>
                    </a:cubicBezTo>
                    <a:lnTo>
                      <a:pt x="725" y="773"/>
                    </a:lnTo>
                    <a:close/>
                    <a:moveTo>
                      <a:pt x="442" y="554"/>
                    </a:moveTo>
                    <a:cubicBezTo>
                      <a:pt x="377" y="586"/>
                      <a:pt x="302" y="586"/>
                      <a:pt x="237" y="554"/>
                    </a:cubicBezTo>
                    <a:cubicBezTo>
                      <a:pt x="237" y="524"/>
                      <a:pt x="237" y="524"/>
                      <a:pt x="237" y="524"/>
                    </a:cubicBezTo>
                    <a:cubicBezTo>
                      <a:pt x="243" y="473"/>
                      <a:pt x="289" y="436"/>
                      <a:pt x="340" y="441"/>
                    </a:cubicBezTo>
                    <a:cubicBezTo>
                      <a:pt x="367" y="441"/>
                      <a:pt x="393" y="450"/>
                      <a:pt x="414" y="468"/>
                    </a:cubicBezTo>
                    <a:cubicBezTo>
                      <a:pt x="431" y="481"/>
                      <a:pt x="442" y="502"/>
                      <a:pt x="442" y="524"/>
                    </a:cubicBezTo>
                    <a:lnTo>
                      <a:pt x="442" y="554"/>
                    </a:lnTo>
                    <a:close/>
                    <a:moveTo>
                      <a:pt x="271" y="305"/>
                    </a:moveTo>
                    <a:cubicBezTo>
                      <a:pt x="271" y="267"/>
                      <a:pt x="302" y="236"/>
                      <a:pt x="340" y="236"/>
                    </a:cubicBezTo>
                    <a:cubicBezTo>
                      <a:pt x="377" y="236"/>
                      <a:pt x="408" y="267"/>
                      <a:pt x="408" y="305"/>
                    </a:cubicBezTo>
                    <a:cubicBezTo>
                      <a:pt x="408" y="342"/>
                      <a:pt x="377" y="373"/>
                      <a:pt x="340" y="373"/>
                    </a:cubicBezTo>
                    <a:cubicBezTo>
                      <a:pt x="302" y="373"/>
                      <a:pt x="272" y="342"/>
                      <a:pt x="271" y="305"/>
                    </a:cubicBezTo>
                    <a:close/>
                    <a:moveTo>
                      <a:pt x="458" y="416"/>
                    </a:moveTo>
                    <a:cubicBezTo>
                      <a:pt x="452" y="410"/>
                      <a:pt x="445" y="405"/>
                      <a:pt x="437" y="400"/>
                    </a:cubicBezTo>
                    <a:cubicBezTo>
                      <a:pt x="490" y="347"/>
                      <a:pt x="489" y="261"/>
                      <a:pt x="436" y="208"/>
                    </a:cubicBezTo>
                    <a:cubicBezTo>
                      <a:pt x="383" y="155"/>
                      <a:pt x="297" y="155"/>
                      <a:pt x="244" y="208"/>
                    </a:cubicBezTo>
                    <a:cubicBezTo>
                      <a:pt x="190" y="261"/>
                      <a:pt x="190" y="347"/>
                      <a:pt x="242" y="400"/>
                    </a:cubicBezTo>
                    <a:cubicBezTo>
                      <a:pt x="203" y="423"/>
                      <a:pt x="177" y="463"/>
                      <a:pt x="171" y="508"/>
                    </a:cubicBezTo>
                    <a:cubicBezTo>
                      <a:pt x="126" y="463"/>
                      <a:pt x="101" y="402"/>
                      <a:pt x="101" y="339"/>
                    </a:cubicBezTo>
                    <a:cubicBezTo>
                      <a:pt x="101" y="231"/>
                      <a:pt x="173" y="136"/>
                      <a:pt x="278" y="108"/>
                    </a:cubicBezTo>
                    <a:cubicBezTo>
                      <a:pt x="382" y="80"/>
                      <a:pt x="493" y="126"/>
                      <a:pt x="547" y="219"/>
                    </a:cubicBezTo>
                    <a:cubicBezTo>
                      <a:pt x="601" y="313"/>
                      <a:pt x="585" y="431"/>
                      <a:pt x="509" y="508"/>
                    </a:cubicBezTo>
                    <a:cubicBezTo>
                      <a:pt x="504" y="472"/>
                      <a:pt x="486" y="439"/>
                      <a:pt x="458" y="4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24">
                <a:extLst>
                  <a:ext uri="{FF2B5EF4-FFF2-40B4-BE49-F238E27FC236}">
                    <a16:creationId xmlns:a16="http://schemas.microsoft.com/office/drawing/2014/main" id="{4E88BE80-1587-A785-832E-EBBC43C7E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375" y="4022725"/>
                <a:ext cx="290513" cy="231775"/>
              </a:xfrm>
              <a:custGeom>
                <a:avLst/>
                <a:gdLst>
                  <a:gd name="T0" fmla="*/ 285 w 347"/>
                  <a:gd name="T1" fmla="*/ 14 h 277"/>
                  <a:gd name="T2" fmla="*/ 105 w 347"/>
                  <a:gd name="T3" fmla="*/ 194 h 277"/>
                  <a:gd name="T4" fmla="*/ 60 w 347"/>
                  <a:gd name="T5" fmla="*/ 150 h 277"/>
                  <a:gd name="T6" fmla="*/ 27 w 347"/>
                  <a:gd name="T7" fmla="*/ 141 h 277"/>
                  <a:gd name="T8" fmla="*/ 3 w 347"/>
                  <a:gd name="T9" fmla="*/ 165 h 277"/>
                  <a:gd name="T10" fmla="*/ 12 w 347"/>
                  <a:gd name="T11" fmla="*/ 198 h 277"/>
                  <a:gd name="T12" fmla="*/ 80 w 347"/>
                  <a:gd name="T13" fmla="*/ 267 h 277"/>
                  <a:gd name="T14" fmla="*/ 105 w 347"/>
                  <a:gd name="T15" fmla="*/ 277 h 277"/>
                  <a:gd name="T16" fmla="*/ 129 w 347"/>
                  <a:gd name="T17" fmla="*/ 267 h 277"/>
                  <a:gd name="T18" fmla="*/ 333 w 347"/>
                  <a:gd name="T19" fmla="*/ 62 h 277"/>
                  <a:gd name="T20" fmla="*/ 333 w 347"/>
                  <a:gd name="T21" fmla="*/ 14 h 277"/>
                  <a:gd name="T22" fmla="*/ 285 w 347"/>
                  <a:gd name="T23" fmla="*/ 14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7" h="277">
                    <a:moveTo>
                      <a:pt x="285" y="14"/>
                    </a:moveTo>
                    <a:cubicBezTo>
                      <a:pt x="105" y="194"/>
                      <a:pt x="105" y="194"/>
                      <a:pt x="105" y="194"/>
                    </a:cubicBezTo>
                    <a:cubicBezTo>
                      <a:pt x="60" y="150"/>
                      <a:pt x="60" y="150"/>
                      <a:pt x="60" y="150"/>
                    </a:cubicBezTo>
                    <a:cubicBezTo>
                      <a:pt x="52" y="141"/>
                      <a:pt x="39" y="138"/>
                      <a:pt x="27" y="141"/>
                    </a:cubicBezTo>
                    <a:cubicBezTo>
                      <a:pt x="16" y="144"/>
                      <a:pt x="6" y="154"/>
                      <a:pt x="3" y="165"/>
                    </a:cubicBezTo>
                    <a:cubicBezTo>
                      <a:pt x="0" y="177"/>
                      <a:pt x="3" y="190"/>
                      <a:pt x="12" y="198"/>
                    </a:cubicBezTo>
                    <a:cubicBezTo>
                      <a:pt x="80" y="267"/>
                      <a:pt x="80" y="267"/>
                      <a:pt x="80" y="267"/>
                    </a:cubicBezTo>
                    <a:cubicBezTo>
                      <a:pt x="87" y="273"/>
                      <a:pt x="95" y="277"/>
                      <a:pt x="105" y="277"/>
                    </a:cubicBezTo>
                    <a:cubicBezTo>
                      <a:pt x="114" y="277"/>
                      <a:pt x="122" y="273"/>
                      <a:pt x="129" y="267"/>
                    </a:cubicBezTo>
                    <a:cubicBezTo>
                      <a:pt x="333" y="62"/>
                      <a:pt x="333" y="62"/>
                      <a:pt x="333" y="62"/>
                    </a:cubicBezTo>
                    <a:cubicBezTo>
                      <a:pt x="347" y="49"/>
                      <a:pt x="347" y="27"/>
                      <a:pt x="333" y="14"/>
                    </a:cubicBezTo>
                    <a:cubicBezTo>
                      <a:pt x="320" y="0"/>
                      <a:pt x="299" y="0"/>
                      <a:pt x="285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5">
                <a:extLst>
                  <a:ext uri="{FF2B5EF4-FFF2-40B4-BE49-F238E27FC236}">
                    <a16:creationId xmlns:a16="http://schemas.microsoft.com/office/drawing/2014/main" id="{95988977-F787-BE36-E822-ABF3DC003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013" y="4140200"/>
                <a:ext cx="398463" cy="55562"/>
              </a:xfrm>
              <a:custGeom>
                <a:avLst/>
                <a:gdLst>
                  <a:gd name="T0" fmla="*/ 444 w 478"/>
                  <a:gd name="T1" fmla="*/ 0 h 68"/>
                  <a:gd name="T2" fmla="*/ 34 w 478"/>
                  <a:gd name="T3" fmla="*/ 0 h 68"/>
                  <a:gd name="T4" fmla="*/ 0 w 478"/>
                  <a:gd name="T5" fmla="*/ 34 h 68"/>
                  <a:gd name="T6" fmla="*/ 34 w 478"/>
                  <a:gd name="T7" fmla="*/ 68 h 68"/>
                  <a:gd name="T8" fmla="*/ 444 w 478"/>
                  <a:gd name="T9" fmla="*/ 68 h 68"/>
                  <a:gd name="T10" fmla="*/ 478 w 478"/>
                  <a:gd name="T11" fmla="*/ 34 h 68"/>
                  <a:gd name="T12" fmla="*/ 444 w 478"/>
                  <a:gd name="T1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68">
                    <a:moveTo>
                      <a:pt x="44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5"/>
                      <a:pt x="0" y="34"/>
                    </a:cubicBezTo>
                    <a:cubicBezTo>
                      <a:pt x="0" y="53"/>
                      <a:pt x="15" y="68"/>
                      <a:pt x="34" y="68"/>
                    </a:cubicBezTo>
                    <a:cubicBezTo>
                      <a:pt x="444" y="68"/>
                      <a:pt x="444" y="68"/>
                      <a:pt x="444" y="68"/>
                    </a:cubicBezTo>
                    <a:cubicBezTo>
                      <a:pt x="463" y="68"/>
                      <a:pt x="478" y="53"/>
                      <a:pt x="478" y="34"/>
                    </a:cubicBezTo>
                    <a:cubicBezTo>
                      <a:pt x="478" y="15"/>
                      <a:pt x="463" y="0"/>
                      <a:pt x="4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26">
                <a:extLst>
                  <a:ext uri="{FF2B5EF4-FFF2-40B4-BE49-F238E27FC236}">
                    <a16:creationId xmlns:a16="http://schemas.microsoft.com/office/drawing/2014/main" id="{DF6F7CE9-61E4-0525-51FC-CD1F96C23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375" y="4279900"/>
                <a:ext cx="290513" cy="230187"/>
              </a:xfrm>
              <a:custGeom>
                <a:avLst/>
                <a:gdLst>
                  <a:gd name="T0" fmla="*/ 286 w 348"/>
                  <a:gd name="T1" fmla="*/ 13 h 276"/>
                  <a:gd name="T2" fmla="*/ 106 w 348"/>
                  <a:gd name="T3" fmla="*/ 193 h 276"/>
                  <a:gd name="T4" fmla="*/ 61 w 348"/>
                  <a:gd name="T5" fmla="*/ 149 h 276"/>
                  <a:gd name="T6" fmla="*/ 13 w 348"/>
                  <a:gd name="T7" fmla="*/ 149 h 276"/>
                  <a:gd name="T8" fmla="*/ 13 w 348"/>
                  <a:gd name="T9" fmla="*/ 198 h 276"/>
                  <a:gd name="T10" fmla="*/ 81 w 348"/>
                  <a:gd name="T11" fmla="*/ 266 h 276"/>
                  <a:gd name="T12" fmla="*/ 106 w 348"/>
                  <a:gd name="T13" fmla="*/ 276 h 276"/>
                  <a:gd name="T14" fmla="*/ 130 w 348"/>
                  <a:gd name="T15" fmla="*/ 266 h 276"/>
                  <a:gd name="T16" fmla="*/ 334 w 348"/>
                  <a:gd name="T17" fmla="*/ 61 h 276"/>
                  <a:gd name="T18" fmla="*/ 334 w 348"/>
                  <a:gd name="T19" fmla="*/ 13 h 276"/>
                  <a:gd name="T20" fmla="*/ 286 w 348"/>
                  <a:gd name="T21" fmla="*/ 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8" h="276">
                    <a:moveTo>
                      <a:pt x="286" y="13"/>
                    </a:moveTo>
                    <a:cubicBezTo>
                      <a:pt x="106" y="193"/>
                      <a:pt x="106" y="193"/>
                      <a:pt x="106" y="193"/>
                    </a:cubicBezTo>
                    <a:cubicBezTo>
                      <a:pt x="61" y="149"/>
                      <a:pt x="61" y="149"/>
                      <a:pt x="61" y="149"/>
                    </a:cubicBezTo>
                    <a:cubicBezTo>
                      <a:pt x="48" y="136"/>
                      <a:pt x="27" y="136"/>
                      <a:pt x="13" y="149"/>
                    </a:cubicBezTo>
                    <a:cubicBezTo>
                      <a:pt x="0" y="163"/>
                      <a:pt x="0" y="184"/>
                      <a:pt x="13" y="198"/>
                    </a:cubicBezTo>
                    <a:cubicBezTo>
                      <a:pt x="81" y="266"/>
                      <a:pt x="81" y="266"/>
                      <a:pt x="81" y="266"/>
                    </a:cubicBezTo>
                    <a:cubicBezTo>
                      <a:pt x="88" y="272"/>
                      <a:pt x="96" y="276"/>
                      <a:pt x="106" y="276"/>
                    </a:cubicBezTo>
                    <a:cubicBezTo>
                      <a:pt x="115" y="276"/>
                      <a:pt x="123" y="272"/>
                      <a:pt x="130" y="266"/>
                    </a:cubicBezTo>
                    <a:cubicBezTo>
                      <a:pt x="334" y="61"/>
                      <a:pt x="334" y="61"/>
                      <a:pt x="334" y="61"/>
                    </a:cubicBezTo>
                    <a:cubicBezTo>
                      <a:pt x="348" y="48"/>
                      <a:pt x="348" y="26"/>
                      <a:pt x="334" y="13"/>
                    </a:cubicBezTo>
                    <a:cubicBezTo>
                      <a:pt x="321" y="0"/>
                      <a:pt x="300" y="0"/>
                      <a:pt x="28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7">
                <a:extLst>
                  <a:ext uri="{FF2B5EF4-FFF2-40B4-BE49-F238E27FC236}">
                    <a16:creationId xmlns:a16="http://schemas.microsoft.com/office/drawing/2014/main" id="{91ECD266-4881-8964-6FDE-2FFC7A457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013" y="4395788"/>
                <a:ext cx="398463" cy="57150"/>
              </a:xfrm>
              <a:custGeom>
                <a:avLst/>
                <a:gdLst>
                  <a:gd name="T0" fmla="*/ 444 w 478"/>
                  <a:gd name="T1" fmla="*/ 0 h 69"/>
                  <a:gd name="T2" fmla="*/ 34 w 478"/>
                  <a:gd name="T3" fmla="*/ 0 h 69"/>
                  <a:gd name="T4" fmla="*/ 0 w 478"/>
                  <a:gd name="T5" fmla="*/ 34 h 69"/>
                  <a:gd name="T6" fmla="*/ 34 w 478"/>
                  <a:gd name="T7" fmla="*/ 69 h 69"/>
                  <a:gd name="T8" fmla="*/ 444 w 478"/>
                  <a:gd name="T9" fmla="*/ 69 h 69"/>
                  <a:gd name="T10" fmla="*/ 478 w 478"/>
                  <a:gd name="T11" fmla="*/ 34 h 69"/>
                  <a:gd name="T12" fmla="*/ 444 w 478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69">
                    <a:moveTo>
                      <a:pt x="44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6"/>
                      <a:pt x="0" y="34"/>
                    </a:cubicBezTo>
                    <a:cubicBezTo>
                      <a:pt x="0" y="53"/>
                      <a:pt x="15" y="69"/>
                      <a:pt x="34" y="69"/>
                    </a:cubicBezTo>
                    <a:cubicBezTo>
                      <a:pt x="444" y="69"/>
                      <a:pt x="444" y="69"/>
                      <a:pt x="444" y="69"/>
                    </a:cubicBezTo>
                    <a:cubicBezTo>
                      <a:pt x="463" y="69"/>
                      <a:pt x="478" y="53"/>
                      <a:pt x="478" y="34"/>
                    </a:cubicBezTo>
                    <a:cubicBezTo>
                      <a:pt x="478" y="16"/>
                      <a:pt x="463" y="0"/>
                      <a:pt x="4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8">
                <a:extLst>
                  <a:ext uri="{FF2B5EF4-FFF2-40B4-BE49-F238E27FC236}">
                    <a16:creationId xmlns:a16="http://schemas.microsoft.com/office/drawing/2014/main" id="{3D921EBB-18C6-3389-9800-E7F2875A8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6375" y="4535488"/>
                <a:ext cx="290513" cy="230187"/>
              </a:xfrm>
              <a:custGeom>
                <a:avLst/>
                <a:gdLst>
                  <a:gd name="T0" fmla="*/ 286 w 348"/>
                  <a:gd name="T1" fmla="*/ 13 h 276"/>
                  <a:gd name="T2" fmla="*/ 106 w 348"/>
                  <a:gd name="T3" fmla="*/ 194 h 276"/>
                  <a:gd name="T4" fmla="*/ 61 w 348"/>
                  <a:gd name="T5" fmla="*/ 150 h 276"/>
                  <a:gd name="T6" fmla="*/ 13 w 348"/>
                  <a:gd name="T7" fmla="*/ 150 h 276"/>
                  <a:gd name="T8" fmla="*/ 13 w 348"/>
                  <a:gd name="T9" fmla="*/ 198 h 276"/>
                  <a:gd name="T10" fmla="*/ 81 w 348"/>
                  <a:gd name="T11" fmla="*/ 266 h 276"/>
                  <a:gd name="T12" fmla="*/ 106 w 348"/>
                  <a:gd name="T13" fmla="*/ 276 h 276"/>
                  <a:gd name="T14" fmla="*/ 130 w 348"/>
                  <a:gd name="T15" fmla="*/ 266 h 276"/>
                  <a:gd name="T16" fmla="*/ 334 w 348"/>
                  <a:gd name="T17" fmla="*/ 61 h 276"/>
                  <a:gd name="T18" fmla="*/ 334 w 348"/>
                  <a:gd name="T19" fmla="*/ 13 h 276"/>
                  <a:gd name="T20" fmla="*/ 286 w 348"/>
                  <a:gd name="T21" fmla="*/ 13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8" h="276">
                    <a:moveTo>
                      <a:pt x="286" y="13"/>
                    </a:moveTo>
                    <a:cubicBezTo>
                      <a:pt x="106" y="194"/>
                      <a:pt x="106" y="194"/>
                      <a:pt x="106" y="194"/>
                    </a:cubicBezTo>
                    <a:cubicBezTo>
                      <a:pt x="61" y="150"/>
                      <a:pt x="61" y="150"/>
                      <a:pt x="61" y="150"/>
                    </a:cubicBezTo>
                    <a:cubicBezTo>
                      <a:pt x="48" y="136"/>
                      <a:pt x="27" y="136"/>
                      <a:pt x="13" y="150"/>
                    </a:cubicBezTo>
                    <a:cubicBezTo>
                      <a:pt x="0" y="163"/>
                      <a:pt x="0" y="184"/>
                      <a:pt x="13" y="198"/>
                    </a:cubicBezTo>
                    <a:cubicBezTo>
                      <a:pt x="81" y="266"/>
                      <a:pt x="81" y="266"/>
                      <a:pt x="81" y="266"/>
                    </a:cubicBezTo>
                    <a:cubicBezTo>
                      <a:pt x="88" y="272"/>
                      <a:pt x="96" y="276"/>
                      <a:pt x="106" y="276"/>
                    </a:cubicBezTo>
                    <a:cubicBezTo>
                      <a:pt x="115" y="276"/>
                      <a:pt x="123" y="272"/>
                      <a:pt x="130" y="266"/>
                    </a:cubicBezTo>
                    <a:cubicBezTo>
                      <a:pt x="334" y="61"/>
                      <a:pt x="334" y="61"/>
                      <a:pt x="334" y="61"/>
                    </a:cubicBezTo>
                    <a:cubicBezTo>
                      <a:pt x="348" y="48"/>
                      <a:pt x="348" y="26"/>
                      <a:pt x="334" y="13"/>
                    </a:cubicBezTo>
                    <a:cubicBezTo>
                      <a:pt x="321" y="0"/>
                      <a:pt x="300" y="0"/>
                      <a:pt x="28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29">
                <a:extLst>
                  <a:ext uri="{FF2B5EF4-FFF2-40B4-BE49-F238E27FC236}">
                    <a16:creationId xmlns:a16="http://schemas.microsoft.com/office/drawing/2014/main" id="{ED6AAA13-6BCE-C457-ACA3-F9F8CEA24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8013" y="4652963"/>
                <a:ext cx="398463" cy="57150"/>
              </a:xfrm>
              <a:custGeom>
                <a:avLst/>
                <a:gdLst>
                  <a:gd name="T0" fmla="*/ 444 w 478"/>
                  <a:gd name="T1" fmla="*/ 0 h 68"/>
                  <a:gd name="T2" fmla="*/ 34 w 478"/>
                  <a:gd name="T3" fmla="*/ 0 h 68"/>
                  <a:gd name="T4" fmla="*/ 0 w 478"/>
                  <a:gd name="T5" fmla="*/ 34 h 68"/>
                  <a:gd name="T6" fmla="*/ 34 w 478"/>
                  <a:gd name="T7" fmla="*/ 68 h 68"/>
                  <a:gd name="T8" fmla="*/ 444 w 478"/>
                  <a:gd name="T9" fmla="*/ 68 h 68"/>
                  <a:gd name="T10" fmla="*/ 478 w 478"/>
                  <a:gd name="T11" fmla="*/ 34 h 68"/>
                  <a:gd name="T12" fmla="*/ 444 w 478"/>
                  <a:gd name="T1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68">
                    <a:moveTo>
                      <a:pt x="44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5"/>
                      <a:pt x="0" y="34"/>
                    </a:cubicBezTo>
                    <a:cubicBezTo>
                      <a:pt x="0" y="53"/>
                      <a:pt x="15" y="68"/>
                      <a:pt x="34" y="68"/>
                    </a:cubicBezTo>
                    <a:cubicBezTo>
                      <a:pt x="444" y="68"/>
                      <a:pt x="444" y="68"/>
                      <a:pt x="444" y="68"/>
                    </a:cubicBezTo>
                    <a:cubicBezTo>
                      <a:pt x="463" y="68"/>
                      <a:pt x="478" y="53"/>
                      <a:pt x="478" y="34"/>
                    </a:cubicBezTo>
                    <a:cubicBezTo>
                      <a:pt x="478" y="15"/>
                      <a:pt x="463" y="0"/>
                      <a:pt x="4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4" name="Freeform 130">
              <a:extLst>
                <a:ext uri="{FF2B5EF4-FFF2-40B4-BE49-F238E27FC236}">
                  <a16:creationId xmlns:a16="http://schemas.microsoft.com/office/drawing/2014/main" id="{9039B2A0-FFFF-66A5-63FB-6039E0F26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0763" y="3257550"/>
              <a:ext cx="1720850" cy="1777999"/>
            </a:xfrm>
            <a:custGeom>
              <a:avLst/>
              <a:gdLst>
                <a:gd name="T0" fmla="*/ 1743 w 2061"/>
                <a:gd name="T1" fmla="*/ 293 h 2132"/>
                <a:gd name="T2" fmla="*/ 1743 w 2061"/>
                <a:gd name="T3" fmla="*/ 102 h 2132"/>
                <a:gd name="T4" fmla="*/ 1640 w 2061"/>
                <a:gd name="T5" fmla="*/ 0 h 2132"/>
                <a:gd name="T6" fmla="*/ 412 w 2061"/>
                <a:gd name="T7" fmla="*/ 0 h 2132"/>
                <a:gd name="T8" fmla="*/ 309 w 2061"/>
                <a:gd name="T9" fmla="*/ 102 h 2132"/>
                <a:gd name="T10" fmla="*/ 309 w 2061"/>
                <a:gd name="T11" fmla="*/ 293 h 2132"/>
                <a:gd name="T12" fmla="*/ 2 w 2061"/>
                <a:gd name="T13" fmla="*/ 1031 h 2132"/>
                <a:gd name="T14" fmla="*/ 319 w 2061"/>
                <a:gd name="T15" fmla="*/ 1765 h 2132"/>
                <a:gd name="T16" fmla="*/ 319 w 2061"/>
                <a:gd name="T17" fmla="*/ 1765 h 2132"/>
                <a:gd name="T18" fmla="*/ 320 w 2061"/>
                <a:gd name="T19" fmla="*/ 1765 h 2132"/>
                <a:gd name="T20" fmla="*/ 355 w 2061"/>
                <a:gd name="T21" fmla="*/ 1797 h 2132"/>
                <a:gd name="T22" fmla="*/ 1699 w 2061"/>
                <a:gd name="T23" fmla="*/ 1796 h 2132"/>
                <a:gd name="T24" fmla="*/ 1732 w 2061"/>
                <a:gd name="T25" fmla="*/ 1765 h 2132"/>
                <a:gd name="T26" fmla="*/ 1733 w 2061"/>
                <a:gd name="T27" fmla="*/ 1765 h 2132"/>
                <a:gd name="T28" fmla="*/ 1733 w 2061"/>
                <a:gd name="T29" fmla="*/ 1765 h 2132"/>
                <a:gd name="T30" fmla="*/ 2050 w 2061"/>
                <a:gd name="T31" fmla="*/ 1031 h 2132"/>
                <a:gd name="T32" fmla="*/ 1743 w 2061"/>
                <a:gd name="T33" fmla="*/ 293 h 2132"/>
                <a:gd name="T34" fmla="*/ 309 w 2061"/>
                <a:gd name="T35" fmla="*/ 1656 h 2132"/>
                <a:gd name="T36" fmla="*/ 70 w 2061"/>
                <a:gd name="T37" fmla="*/ 1024 h 2132"/>
                <a:gd name="T38" fmla="*/ 309 w 2061"/>
                <a:gd name="T39" fmla="*/ 392 h 2132"/>
                <a:gd name="T40" fmla="*/ 309 w 2061"/>
                <a:gd name="T41" fmla="*/ 1656 h 2132"/>
                <a:gd name="T42" fmla="*/ 1675 w 2061"/>
                <a:gd name="T43" fmla="*/ 1726 h 2132"/>
                <a:gd name="T44" fmla="*/ 1652 w 2061"/>
                <a:gd name="T45" fmla="*/ 1746 h 2132"/>
                <a:gd name="T46" fmla="*/ 1026 w 2061"/>
                <a:gd name="T47" fmla="*/ 1980 h 2132"/>
                <a:gd name="T48" fmla="*/ 398 w 2061"/>
                <a:gd name="T49" fmla="*/ 1744 h 2132"/>
                <a:gd name="T50" fmla="*/ 377 w 2061"/>
                <a:gd name="T51" fmla="*/ 1725 h 2132"/>
                <a:gd name="T52" fmla="*/ 377 w 2061"/>
                <a:gd name="T53" fmla="*/ 102 h 2132"/>
                <a:gd name="T54" fmla="*/ 412 w 2061"/>
                <a:gd name="T55" fmla="*/ 68 h 2132"/>
                <a:gd name="T56" fmla="*/ 1640 w 2061"/>
                <a:gd name="T57" fmla="*/ 68 h 2132"/>
                <a:gd name="T58" fmla="*/ 1675 w 2061"/>
                <a:gd name="T59" fmla="*/ 102 h 2132"/>
                <a:gd name="T60" fmla="*/ 1675 w 2061"/>
                <a:gd name="T61" fmla="*/ 1726 h 2132"/>
                <a:gd name="T62" fmla="*/ 1743 w 2061"/>
                <a:gd name="T63" fmla="*/ 1656 h 2132"/>
                <a:gd name="T64" fmla="*/ 1743 w 2061"/>
                <a:gd name="T65" fmla="*/ 392 h 2132"/>
                <a:gd name="T66" fmla="*/ 1743 w 2061"/>
                <a:gd name="T67" fmla="*/ 1656 h 2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61" h="2132">
                  <a:moveTo>
                    <a:pt x="1743" y="293"/>
                  </a:moveTo>
                  <a:cubicBezTo>
                    <a:pt x="1743" y="102"/>
                    <a:pt x="1743" y="102"/>
                    <a:pt x="1743" y="102"/>
                  </a:cubicBezTo>
                  <a:cubicBezTo>
                    <a:pt x="1743" y="46"/>
                    <a:pt x="1697" y="0"/>
                    <a:pt x="1640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55" y="0"/>
                    <a:pt x="309" y="46"/>
                    <a:pt x="309" y="1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111" y="487"/>
                    <a:pt x="0" y="754"/>
                    <a:pt x="2" y="1031"/>
                  </a:cubicBezTo>
                  <a:cubicBezTo>
                    <a:pt x="4" y="1308"/>
                    <a:pt x="118" y="1573"/>
                    <a:pt x="319" y="1765"/>
                  </a:cubicBezTo>
                  <a:cubicBezTo>
                    <a:pt x="319" y="1765"/>
                    <a:pt x="319" y="1765"/>
                    <a:pt x="319" y="1765"/>
                  </a:cubicBezTo>
                  <a:cubicBezTo>
                    <a:pt x="320" y="1765"/>
                    <a:pt x="320" y="1765"/>
                    <a:pt x="320" y="1765"/>
                  </a:cubicBezTo>
                  <a:cubicBezTo>
                    <a:pt x="330" y="1775"/>
                    <a:pt x="342" y="1785"/>
                    <a:pt x="355" y="1797"/>
                  </a:cubicBezTo>
                  <a:cubicBezTo>
                    <a:pt x="741" y="2132"/>
                    <a:pt x="1314" y="2131"/>
                    <a:pt x="1699" y="1796"/>
                  </a:cubicBezTo>
                  <a:cubicBezTo>
                    <a:pt x="1710" y="1785"/>
                    <a:pt x="1722" y="1775"/>
                    <a:pt x="1732" y="1765"/>
                  </a:cubicBezTo>
                  <a:cubicBezTo>
                    <a:pt x="1733" y="1765"/>
                    <a:pt x="1733" y="1765"/>
                    <a:pt x="1733" y="1765"/>
                  </a:cubicBezTo>
                  <a:cubicBezTo>
                    <a:pt x="1733" y="1765"/>
                    <a:pt x="1733" y="1765"/>
                    <a:pt x="1733" y="1765"/>
                  </a:cubicBezTo>
                  <a:cubicBezTo>
                    <a:pt x="1934" y="1573"/>
                    <a:pt x="2048" y="1308"/>
                    <a:pt x="2050" y="1031"/>
                  </a:cubicBezTo>
                  <a:cubicBezTo>
                    <a:pt x="2052" y="754"/>
                    <a:pt x="1941" y="487"/>
                    <a:pt x="1743" y="293"/>
                  </a:cubicBezTo>
                  <a:close/>
                  <a:moveTo>
                    <a:pt x="309" y="1656"/>
                  </a:moveTo>
                  <a:cubicBezTo>
                    <a:pt x="154" y="1482"/>
                    <a:pt x="69" y="1257"/>
                    <a:pt x="70" y="1024"/>
                  </a:cubicBezTo>
                  <a:cubicBezTo>
                    <a:pt x="69" y="791"/>
                    <a:pt x="154" y="566"/>
                    <a:pt x="309" y="392"/>
                  </a:cubicBezTo>
                  <a:lnTo>
                    <a:pt x="309" y="1656"/>
                  </a:lnTo>
                  <a:close/>
                  <a:moveTo>
                    <a:pt x="1675" y="1726"/>
                  </a:moveTo>
                  <a:cubicBezTo>
                    <a:pt x="1668" y="1732"/>
                    <a:pt x="1660" y="1739"/>
                    <a:pt x="1652" y="1746"/>
                  </a:cubicBezTo>
                  <a:cubicBezTo>
                    <a:pt x="1478" y="1897"/>
                    <a:pt x="1256" y="1980"/>
                    <a:pt x="1026" y="1980"/>
                  </a:cubicBezTo>
                  <a:cubicBezTo>
                    <a:pt x="795" y="1980"/>
                    <a:pt x="572" y="1896"/>
                    <a:pt x="398" y="1744"/>
                  </a:cubicBezTo>
                  <a:cubicBezTo>
                    <a:pt x="391" y="1738"/>
                    <a:pt x="384" y="1732"/>
                    <a:pt x="377" y="1725"/>
                  </a:cubicBezTo>
                  <a:cubicBezTo>
                    <a:pt x="377" y="102"/>
                    <a:pt x="377" y="102"/>
                    <a:pt x="377" y="102"/>
                  </a:cubicBezTo>
                  <a:cubicBezTo>
                    <a:pt x="377" y="84"/>
                    <a:pt x="393" y="68"/>
                    <a:pt x="412" y="68"/>
                  </a:cubicBezTo>
                  <a:cubicBezTo>
                    <a:pt x="1640" y="68"/>
                    <a:pt x="1640" y="68"/>
                    <a:pt x="1640" y="68"/>
                  </a:cubicBezTo>
                  <a:cubicBezTo>
                    <a:pt x="1659" y="68"/>
                    <a:pt x="1675" y="84"/>
                    <a:pt x="1675" y="102"/>
                  </a:cubicBezTo>
                  <a:lnTo>
                    <a:pt x="1675" y="1726"/>
                  </a:lnTo>
                  <a:close/>
                  <a:moveTo>
                    <a:pt x="1743" y="1656"/>
                  </a:moveTo>
                  <a:cubicBezTo>
                    <a:pt x="1743" y="392"/>
                    <a:pt x="1743" y="392"/>
                    <a:pt x="1743" y="392"/>
                  </a:cubicBezTo>
                  <a:cubicBezTo>
                    <a:pt x="2061" y="753"/>
                    <a:pt x="2061" y="1295"/>
                    <a:pt x="1743" y="16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4" name="Picture 2" descr="http://qrcoder.ru/code/?https%3A%2F%2Fmspbank.ru%2Fguarantee%2F&amp;4&amp;0">
            <a:extLst>
              <a:ext uri="{FF2B5EF4-FFF2-40B4-BE49-F238E27FC236}">
                <a16:creationId xmlns:a16="http://schemas.microsoft.com/office/drawing/2014/main" id="{31C72F63-CEDF-B3EF-1E23-113A4075F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178" y="754418"/>
            <a:ext cx="999423" cy="999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40A8DAA-6AA4-D787-1186-C12F6A17E87C}"/>
              </a:ext>
            </a:extLst>
          </p:cNvPr>
          <p:cNvSpPr/>
          <p:nvPr/>
        </p:nvSpPr>
        <p:spPr>
          <a:xfrm>
            <a:off x="289998" y="2217265"/>
            <a:ext cx="5417317" cy="430887"/>
          </a:xfrm>
          <a:prstGeom prst="rect">
            <a:avLst/>
          </a:prstGeom>
        </p:spPr>
        <p:txBody>
          <a:bodyPr wrap="none" l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и в рамках Федеральных законов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6F4A4DD8-AA71-B242-B891-2FC260DF0BD3}"/>
              </a:ext>
            </a:extLst>
          </p:cNvPr>
          <p:cNvGrpSpPr/>
          <p:nvPr/>
        </p:nvGrpSpPr>
        <p:grpSpPr>
          <a:xfrm>
            <a:off x="5674883" y="2217265"/>
            <a:ext cx="4831632" cy="442674"/>
            <a:chOff x="5704863" y="2122263"/>
            <a:chExt cx="4831632" cy="442674"/>
          </a:xfrm>
        </p:grpSpPr>
        <p:sp>
          <p:nvSpPr>
            <p:cNvPr id="40" name="Скругленный прямоугольник 39">
              <a:extLst>
                <a:ext uri="{FF2B5EF4-FFF2-40B4-BE49-F238E27FC236}">
                  <a16:creationId xmlns:a16="http://schemas.microsoft.com/office/drawing/2014/main" id="{F92763B0-E57F-A803-2F9F-2DFE96B71C98}"/>
                </a:ext>
              </a:extLst>
            </p:cNvPr>
            <p:cNvSpPr/>
            <p:nvPr/>
          </p:nvSpPr>
          <p:spPr>
            <a:xfrm>
              <a:off x="5704863" y="2122263"/>
              <a:ext cx="1559648" cy="442674"/>
            </a:xfrm>
            <a:prstGeom prst="roundRect">
              <a:avLst/>
            </a:prstGeom>
            <a:ln w="19050">
              <a:solidFill>
                <a:srgbClr val="84E0F7"/>
              </a:solidFill>
            </a:ln>
          </p:spPr>
          <p:txBody>
            <a:bodyPr wrap="square" lIns="72000" rIns="72000" anchor="ctr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latin typeface="Segoe UI" panose="020B0502040204020203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№ 44-ФЗ</a:t>
              </a:r>
            </a:p>
          </p:txBody>
        </p:sp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4CFD5CB8-8F52-F3EC-5D31-66F0314F1307}"/>
                </a:ext>
              </a:extLst>
            </p:cNvPr>
            <p:cNvSpPr/>
            <p:nvPr/>
          </p:nvSpPr>
          <p:spPr>
            <a:xfrm>
              <a:off x="7341875" y="2122263"/>
              <a:ext cx="1557607" cy="442674"/>
            </a:xfrm>
            <a:prstGeom prst="roundRect">
              <a:avLst/>
            </a:prstGeom>
            <a:ln w="19050">
              <a:solidFill>
                <a:srgbClr val="84E0F7"/>
              </a:solidFill>
            </a:ln>
          </p:spPr>
          <p:txBody>
            <a:bodyPr wrap="square" lIns="72000" rIns="72000" anchor="ctr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latin typeface="Segoe UI" panose="020B0502040204020203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№ 223-ФЗ</a:t>
              </a:r>
            </a:p>
          </p:txBody>
        </p:sp>
        <p:sp>
          <p:nvSpPr>
            <p:cNvPr id="42" name="Скругленный прямоугольник 41">
              <a:extLst>
                <a:ext uri="{FF2B5EF4-FFF2-40B4-BE49-F238E27FC236}">
                  <a16:creationId xmlns:a16="http://schemas.microsoft.com/office/drawing/2014/main" id="{A8A9CF2A-FF3B-33E1-8280-BDAE076524FD}"/>
                </a:ext>
              </a:extLst>
            </p:cNvPr>
            <p:cNvSpPr/>
            <p:nvPr/>
          </p:nvSpPr>
          <p:spPr>
            <a:xfrm>
              <a:off x="8976847" y="2122263"/>
              <a:ext cx="1559648" cy="442674"/>
            </a:xfrm>
            <a:prstGeom prst="roundRect">
              <a:avLst/>
            </a:prstGeom>
            <a:ln w="19050">
              <a:solidFill>
                <a:srgbClr val="84E0F7"/>
              </a:solidFill>
            </a:ln>
          </p:spPr>
          <p:txBody>
            <a:bodyPr wrap="square" lIns="72000" rIns="72000" anchor="ctr">
              <a:spAutoFit/>
            </a:bodyPr>
            <a:lstStyle/>
            <a:p>
              <a:pPr lvl="0" algn="ctr">
                <a:defRPr/>
              </a:pPr>
              <a:r>
                <a:rPr lang="ru-RU" sz="2000" b="1" dirty="0">
                  <a:latin typeface="Segoe UI" panose="020B0502040204020203" pitchFamily="34" charset="0"/>
                  <a:ea typeface="Calibri" panose="020F0502020204030204" pitchFamily="34" charset="0"/>
                  <a:cs typeface="Segoe UI" panose="020B0502040204020203" pitchFamily="34" charset="0"/>
                </a:rPr>
                <a:t>№ 185-ФЗ</a:t>
              </a:r>
            </a:p>
          </p:txBody>
        </p: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55259164-FFAE-D6DF-E692-254D3F7F2F7F}"/>
              </a:ext>
            </a:extLst>
          </p:cNvPr>
          <p:cNvSpPr/>
          <p:nvPr/>
        </p:nvSpPr>
        <p:spPr>
          <a:xfrm>
            <a:off x="3369070" y="2822790"/>
            <a:ext cx="1833206" cy="1307868"/>
          </a:xfrm>
          <a:prstGeom prst="rect">
            <a:avLst/>
          </a:prstGeom>
          <a:ln>
            <a:noFill/>
          </a:ln>
        </p:spPr>
        <p:txBody>
          <a:bodyPr wrap="square" lIns="0" tIns="36000" rIns="36000" bIns="36000" anchor="ctr">
            <a:noAutofit/>
          </a:bodyPr>
          <a:lstStyle/>
          <a:p>
            <a:pPr marL="266700" lvl="1" algn="ct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я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</a:b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озврата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</a:b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аванса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F4011662-0C20-7038-11A6-5200F34390AF}"/>
              </a:ext>
            </a:extLst>
          </p:cNvPr>
          <p:cNvSpPr/>
          <p:nvPr/>
        </p:nvSpPr>
        <p:spPr>
          <a:xfrm>
            <a:off x="535929" y="2822790"/>
            <a:ext cx="1833206" cy="1307868"/>
          </a:xfrm>
          <a:prstGeom prst="rect">
            <a:avLst/>
          </a:prstGeom>
          <a:ln>
            <a:noFill/>
          </a:ln>
        </p:spPr>
        <p:txBody>
          <a:bodyPr wrap="square" lIns="0" tIns="36000" rIns="36000" bIns="36000" anchor="ctr">
            <a:noAutofit/>
          </a:bodyPr>
          <a:lstStyle/>
          <a:p>
            <a:pPr marL="266700" lvl="1" algn="ct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Тендерная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</a:b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я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0EFD20DA-E1E7-BD09-65E0-8CD659884BD5}"/>
              </a:ext>
            </a:extLst>
          </p:cNvPr>
          <p:cNvSpPr/>
          <p:nvPr/>
        </p:nvSpPr>
        <p:spPr>
          <a:xfrm>
            <a:off x="6202211" y="2790073"/>
            <a:ext cx="1833206" cy="1307868"/>
          </a:xfrm>
          <a:prstGeom prst="rect">
            <a:avLst/>
          </a:prstGeom>
          <a:ln>
            <a:noFill/>
          </a:ln>
        </p:spPr>
        <p:txBody>
          <a:bodyPr wrap="square" lIns="0" tIns="36000" rIns="36000" bIns="36000" anchor="ctr">
            <a:noAutofit/>
          </a:bodyPr>
          <a:lstStyle/>
          <a:p>
            <a:pPr marL="266700" lvl="1" algn="ct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я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</a:b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исполнения контракта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E2192835-417D-B2DE-3575-8C63B8526E99}"/>
              </a:ext>
            </a:extLst>
          </p:cNvPr>
          <p:cNvSpPr/>
          <p:nvPr/>
        </p:nvSpPr>
        <p:spPr>
          <a:xfrm>
            <a:off x="9353381" y="2666241"/>
            <a:ext cx="1833206" cy="1307868"/>
          </a:xfrm>
          <a:prstGeom prst="rect">
            <a:avLst/>
          </a:prstGeom>
          <a:ln>
            <a:noFill/>
          </a:ln>
        </p:spPr>
        <p:txBody>
          <a:bodyPr wrap="square" lIns="0" tIns="36000" rIns="36000" bIns="36000" anchor="ctr">
            <a:noAutofit/>
          </a:bodyPr>
          <a:lstStyle/>
          <a:p>
            <a:pPr marL="266700" lvl="1" algn="ctr">
              <a:lnSpc>
                <a:spcPct val="90000"/>
              </a:lnSpc>
              <a:spcAft>
                <a:spcPts val="600"/>
              </a:spcAft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я исполнения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893DD6A-A692-728D-7DD3-7D85DB5DA00C}"/>
              </a:ext>
            </a:extLst>
          </p:cNvPr>
          <p:cNvSpPr txBox="1"/>
          <p:nvPr/>
        </p:nvSpPr>
        <p:spPr>
          <a:xfrm>
            <a:off x="8544393" y="3591356"/>
            <a:ext cx="33892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lvl="1" algn="ctr">
              <a:spcAft>
                <a:spcPts val="300"/>
              </a:spcAft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гарантийных</a:t>
            </a:r>
            <a:r>
              <a:rPr kumimoji="0" lang="ru-RU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обязательств по контракту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76BC8162-7D22-0239-5211-044BD0B04834}"/>
              </a:ext>
            </a:extLst>
          </p:cNvPr>
          <p:cNvSpPr/>
          <p:nvPr/>
        </p:nvSpPr>
        <p:spPr>
          <a:xfrm>
            <a:off x="278269" y="4475852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мма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CC75C230-9F9F-61B8-6617-CE1B98F1B8D0}"/>
              </a:ext>
            </a:extLst>
          </p:cNvPr>
          <p:cNvSpPr/>
          <p:nvPr/>
        </p:nvSpPr>
        <p:spPr>
          <a:xfrm>
            <a:off x="1523298" y="4235689"/>
            <a:ext cx="3184927" cy="584775"/>
          </a:xfrm>
          <a:prstGeom prst="rect">
            <a:avLst/>
          </a:prstGeom>
        </p:spPr>
        <p:txBody>
          <a:bodyPr wrap="square" lIns="144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до</a:t>
            </a:r>
            <a:r>
              <a:rPr kumimoji="0" lang="ru-RU" sz="20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4000" spc="7" dirty="0">
                <a:latin typeface="Segoe UI Black" panose="020B0A02040204020203" pitchFamily="34" charset="0"/>
                <a:cs typeface="Segoe UI Semibold" panose="020B0702040204020203" pitchFamily="34" charset="0"/>
              </a:rPr>
              <a:t>500</a:t>
            </a:r>
            <a:r>
              <a:rPr kumimoji="0" lang="ru-RU" sz="2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млн рублей</a:t>
            </a:r>
            <a:endParaRPr kumimoji="0" lang="ru-RU" sz="1600" b="0" i="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A128C1B2-9B7B-0C30-3253-92A3E4330E14}"/>
              </a:ext>
            </a:extLst>
          </p:cNvPr>
          <p:cNvSpPr/>
          <p:nvPr/>
        </p:nvSpPr>
        <p:spPr>
          <a:xfrm>
            <a:off x="278269" y="5186311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оимость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A90CC332-94F8-ABD7-278F-1B585DC196E5}"/>
              </a:ext>
            </a:extLst>
          </p:cNvPr>
          <p:cNvSpPr/>
          <p:nvPr/>
        </p:nvSpPr>
        <p:spPr>
          <a:xfrm>
            <a:off x="1523298" y="4959527"/>
            <a:ext cx="3184927" cy="584775"/>
          </a:xfrm>
          <a:prstGeom prst="rect">
            <a:avLst/>
          </a:prstGeom>
        </p:spPr>
        <p:txBody>
          <a:bodyPr wrap="square" lIns="144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от</a:t>
            </a:r>
            <a:r>
              <a:rPr kumimoji="0" lang="ru-RU" sz="20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4000" spc="7" dirty="0">
                <a:latin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4000" spc="7" dirty="0">
                <a:latin typeface="Segoe UI Black" panose="020B0A02040204020203" pitchFamily="34" charset="0"/>
                <a:cs typeface="Segoe UI Semibold" panose="020B0702040204020203" pitchFamily="34" charset="0"/>
              </a:rPr>
              <a:t>%</a:t>
            </a:r>
            <a:r>
              <a:rPr kumimoji="0" lang="ru-RU" sz="40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годовых</a:t>
            </a:r>
            <a:endParaRPr kumimoji="0" lang="ru-RU" sz="1600" b="0" i="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E86DCE6A-E731-12EC-561F-58ECA45214B0}"/>
              </a:ext>
            </a:extLst>
          </p:cNvPr>
          <p:cNvSpPr/>
          <p:nvPr/>
        </p:nvSpPr>
        <p:spPr>
          <a:xfrm>
            <a:off x="278269" y="5748747"/>
            <a:ext cx="106383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рок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0F7D5267-EFAB-8215-BD2D-CEAC0FFBD175}"/>
              </a:ext>
            </a:extLst>
          </p:cNvPr>
          <p:cNvSpPr/>
          <p:nvPr/>
        </p:nvSpPr>
        <p:spPr>
          <a:xfrm>
            <a:off x="1523298" y="5683365"/>
            <a:ext cx="3318525" cy="1077218"/>
          </a:xfrm>
          <a:prstGeom prst="rect">
            <a:avLst/>
          </a:prstGeom>
        </p:spPr>
        <p:txBody>
          <a:bodyPr wrap="square" lIns="14400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 соответствии с требованиями конкурсной документации и/или контракта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CEBA0738-D65D-E361-1DA9-2860BEC07D29}"/>
              </a:ext>
            </a:extLst>
          </p:cNvPr>
          <p:cNvSpPr/>
          <p:nvPr/>
        </p:nvSpPr>
        <p:spPr>
          <a:xfrm>
            <a:off x="5299974" y="4475852"/>
            <a:ext cx="153158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имущества</a:t>
            </a:r>
            <a:endParaRPr lang="ru-RU" sz="11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09944B30-31FA-48A5-8903-93AB48BCFC4A}"/>
              </a:ext>
            </a:extLst>
          </p:cNvPr>
          <p:cNvSpPr/>
          <p:nvPr/>
        </p:nvSpPr>
        <p:spPr>
          <a:xfrm>
            <a:off x="7086685" y="4475852"/>
            <a:ext cx="41707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  <a:t>без обеспечения</a:t>
            </a:r>
            <a:b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при сумме гарантии до</a:t>
            </a: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68526F1D-84A8-4B55-6D69-E1065942CC3E}"/>
              </a:ext>
            </a:extLst>
          </p:cNvPr>
          <p:cNvSpPr/>
          <p:nvPr/>
        </p:nvSpPr>
        <p:spPr>
          <a:xfrm>
            <a:off x="9488598" y="4520822"/>
            <a:ext cx="3184927" cy="584775"/>
          </a:xfrm>
          <a:prstGeom prst="rect">
            <a:avLst/>
          </a:prstGeom>
        </p:spPr>
        <p:txBody>
          <a:bodyPr wrap="square" lIns="144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7" normalizeH="0" baseline="0" noProof="0" dirty="0">
                <a:ln>
                  <a:noFill/>
                </a:ln>
                <a:effectLst/>
                <a:uLnTx/>
                <a:uFillTx/>
                <a:latin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4000" spc="7" dirty="0">
                <a:latin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r>
              <a:rPr kumimoji="0" lang="ru-RU" sz="22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млн рублей</a:t>
            </a:r>
            <a:endParaRPr kumimoji="0" lang="ru-RU" sz="1600" b="0" i="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CDF9662D-4145-E195-80E2-75C55DB7C46D}"/>
              </a:ext>
            </a:extLst>
          </p:cNvPr>
          <p:cNvSpPr/>
          <p:nvPr/>
        </p:nvSpPr>
        <p:spPr>
          <a:xfrm>
            <a:off x="7086685" y="5240350"/>
            <a:ext cx="41707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  <a:t>без открытия</a:t>
            </a:r>
            <a:b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расчетного счета</a:t>
            </a: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3F58C67D-D3C3-4D02-6F92-B59E528ABB6E}"/>
              </a:ext>
            </a:extLst>
          </p:cNvPr>
          <p:cNvSpPr/>
          <p:nvPr/>
        </p:nvSpPr>
        <p:spPr>
          <a:xfrm>
            <a:off x="7086685" y="5974868"/>
            <a:ext cx="417075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indent="-285750">
              <a:spcBef>
                <a:spcPts val="361"/>
              </a:spcBef>
              <a:spcAft>
                <a:spcPts val="657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предварительное решение</a:t>
            </a:r>
            <a: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b="1" spc="7" dirty="0">
                <a:latin typeface="Segoe UI" panose="020B0502040204020203" pitchFamily="34" charset="0"/>
                <a:cs typeface="Segoe UI" panose="020B0502040204020203" pitchFamily="34" charset="0"/>
              </a:rPr>
              <a:t>по 2 документам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07" y="376111"/>
            <a:ext cx="1187511" cy="292115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2835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9D6766A-3A3E-167F-54F6-BBE7AE1CAF62}"/>
              </a:ext>
            </a:extLst>
          </p:cNvPr>
          <p:cNvSpPr/>
          <p:nvPr/>
        </p:nvSpPr>
        <p:spPr>
          <a:xfrm>
            <a:off x="0" y="0"/>
            <a:ext cx="572792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3519" y="5190764"/>
            <a:ext cx="413526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4519" y="375869"/>
            <a:ext cx="5058882" cy="159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ьше </a:t>
            </a:r>
          </a:p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бизнес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0351" y="5028007"/>
            <a:ext cx="42162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ww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.</a:t>
            </a:r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mspbank.ru</a:t>
            </a: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080" y="1919765"/>
            <a:ext cx="1582696" cy="158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063961" y="1431516"/>
            <a:ext cx="44355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142594" y="922100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-64055" y="5845408"/>
            <a:ext cx="12256055" cy="1024572"/>
            <a:chOff x="0" y="5900738"/>
            <a:chExt cx="12449131" cy="1024572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0" y="6724448"/>
              <a:ext cx="12192000" cy="1856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Freeform 152"/>
            <p:cNvSpPr>
              <a:spLocks/>
            </p:cNvSpPr>
            <p:nvPr/>
          </p:nvSpPr>
          <p:spPr bwMode="auto">
            <a:xfrm>
              <a:off x="7034280" y="6174599"/>
              <a:ext cx="313557" cy="600863"/>
            </a:xfrm>
            <a:custGeom>
              <a:avLst/>
              <a:gdLst>
                <a:gd name="T0" fmla="*/ 205 w 215"/>
                <a:gd name="T1" fmla="*/ 96 h 412"/>
                <a:gd name="T2" fmla="*/ 195 w 215"/>
                <a:gd name="T3" fmla="*/ 88 h 412"/>
                <a:gd name="T4" fmla="*/ 187 w 215"/>
                <a:gd name="T5" fmla="*/ 86 h 412"/>
                <a:gd name="T6" fmla="*/ 131 w 215"/>
                <a:gd name="T7" fmla="*/ 98 h 412"/>
                <a:gd name="T8" fmla="*/ 115 w 215"/>
                <a:gd name="T9" fmla="*/ 98 h 412"/>
                <a:gd name="T10" fmla="*/ 86 w 215"/>
                <a:gd name="T11" fmla="*/ 92 h 412"/>
                <a:gd name="T12" fmla="*/ 82 w 215"/>
                <a:gd name="T13" fmla="*/ 82 h 412"/>
                <a:gd name="T14" fmla="*/ 94 w 215"/>
                <a:gd name="T15" fmla="*/ 72 h 412"/>
                <a:gd name="T16" fmla="*/ 102 w 215"/>
                <a:gd name="T17" fmla="*/ 64 h 412"/>
                <a:gd name="T18" fmla="*/ 100 w 215"/>
                <a:gd name="T19" fmla="*/ 56 h 412"/>
                <a:gd name="T20" fmla="*/ 90 w 215"/>
                <a:gd name="T21" fmla="*/ 50 h 412"/>
                <a:gd name="T22" fmla="*/ 62 w 215"/>
                <a:gd name="T23" fmla="*/ 48 h 412"/>
                <a:gd name="T24" fmla="*/ 54 w 215"/>
                <a:gd name="T25" fmla="*/ 52 h 412"/>
                <a:gd name="T26" fmla="*/ 46 w 215"/>
                <a:gd name="T27" fmla="*/ 74 h 412"/>
                <a:gd name="T28" fmla="*/ 38 w 215"/>
                <a:gd name="T29" fmla="*/ 70 h 412"/>
                <a:gd name="T30" fmla="*/ 32 w 215"/>
                <a:gd name="T31" fmla="*/ 56 h 412"/>
                <a:gd name="T32" fmla="*/ 20 w 215"/>
                <a:gd name="T33" fmla="*/ 30 h 412"/>
                <a:gd name="T34" fmla="*/ 20 w 215"/>
                <a:gd name="T35" fmla="*/ 18 h 412"/>
                <a:gd name="T36" fmla="*/ 24 w 215"/>
                <a:gd name="T37" fmla="*/ 4 h 412"/>
                <a:gd name="T38" fmla="*/ 14 w 215"/>
                <a:gd name="T39" fmla="*/ 0 h 412"/>
                <a:gd name="T40" fmla="*/ 8 w 215"/>
                <a:gd name="T41" fmla="*/ 30 h 412"/>
                <a:gd name="T42" fmla="*/ 10 w 215"/>
                <a:gd name="T43" fmla="*/ 48 h 412"/>
                <a:gd name="T44" fmla="*/ 12 w 215"/>
                <a:gd name="T45" fmla="*/ 72 h 412"/>
                <a:gd name="T46" fmla="*/ 28 w 215"/>
                <a:gd name="T47" fmla="*/ 94 h 412"/>
                <a:gd name="T48" fmla="*/ 34 w 215"/>
                <a:gd name="T49" fmla="*/ 104 h 412"/>
                <a:gd name="T50" fmla="*/ 32 w 215"/>
                <a:gd name="T51" fmla="*/ 120 h 412"/>
                <a:gd name="T52" fmla="*/ 32 w 215"/>
                <a:gd name="T53" fmla="*/ 140 h 412"/>
                <a:gd name="T54" fmla="*/ 32 w 215"/>
                <a:gd name="T55" fmla="*/ 166 h 412"/>
                <a:gd name="T56" fmla="*/ 36 w 215"/>
                <a:gd name="T57" fmla="*/ 190 h 412"/>
                <a:gd name="T58" fmla="*/ 42 w 215"/>
                <a:gd name="T59" fmla="*/ 196 h 412"/>
                <a:gd name="T60" fmla="*/ 42 w 215"/>
                <a:gd name="T61" fmla="*/ 258 h 412"/>
                <a:gd name="T62" fmla="*/ 52 w 215"/>
                <a:gd name="T63" fmla="*/ 284 h 412"/>
                <a:gd name="T64" fmla="*/ 58 w 215"/>
                <a:gd name="T65" fmla="*/ 318 h 412"/>
                <a:gd name="T66" fmla="*/ 68 w 215"/>
                <a:gd name="T67" fmla="*/ 346 h 412"/>
                <a:gd name="T68" fmla="*/ 68 w 215"/>
                <a:gd name="T69" fmla="*/ 362 h 412"/>
                <a:gd name="T70" fmla="*/ 12 w 215"/>
                <a:gd name="T71" fmla="*/ 412 h 412"/>
                <a:gd name="T72" fmla="*/ 173 w 215"/>
                <a:gd name="T73" fmla="*/ 382 h 412"/>
                <a:gd name="T74" fmla="*/ 173 w 215"/>
                <a:gd name="T75" fmla="*/ 368 h 412"/>
                <a:gd name="T76" fmla="*/ 171 w 215"/>
                <a:gd name="T77" fmla="*/ 342 h 412"/>
                <a:gd name="T78" fmla="*/ 179 w 215"/>
                <a:gd name="T79" fmla="*/ 342 h 412"/>
                <a:gd name="T80" fmla="*/ 187 w 215"/>
                <a:gd name="T81" fmla="*/ 330 h 412"/>
                <a:gd name="T82" fmla="*/ 169 w 215"/>
                <a:gd name="T83" fmla="*/ 310 h 412"/>
                <a:gd name="T84" fmla="*/ 115 w 215"/>
                <a:gd name="T85" fmla="*/ 230 h 412"/>
                <a:gd name="T86" fmla="*/ 105 w 215"/>
                <a:gd name="T87" fmla="*/ 204 h 412"/>
                <a:gd name="T88" fmla="*/ 86 w 215"/>
                <a:gd name="T89" fmla="*/ 190 h 412"/>
                <a:gd name="T90" fmla="*/ 94 w 215"/>
                <a:gd name="T91" fmla="*/ 130 h 412"/>
                <a:gd name="T92" fmla="*/ 123 w 215"/>
                <a:gd name="T93" fmla="*/ 124 h 412"/>
                <a:gd name="T94" fmla="*/ 181 w 215"/>
                <a:gd name="T95" fmla="*/ 106 h 412"/>
                <a:gd name="T96" fmla="*/ 197 w 215"/>
                <a:gd name="T97" fmla="*/ 108 h 412"/>
                <a:gd name="T98" fmla="*/ 213 w 215"/>
                <a:gd name="T99" fmla="*/ 106 h 412"/>
                <a:gd name="T100" fmla="*/ 215 w 215"/>
                <a:gd name="T101" fmla="*/ 10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412">
                  <a:moveTo>
                    <a:pt x="211" y="98"/>
                  </a:moveTo>
                  <a:lnTo>
                    <a:pt x="211" y="98"/>
                  </a:lnTo>
                  <a:lnTo>
                    <a:pt x="205" y="96"/>
                  </a:lnTo>
                  <a:lnTo>
                    <a:pt x="201" y="92"/>
                  </a:lnTo>
                  <a:lnTo>
                    <a:pt x="199" y="90"/>
                  </a:lnTo>
                  <a:lnTo>
                    <a:pt x="195" y="88"/>
                  </a:lnTo>
                  <a:lnTo>
                    <a:pt x="195" y="88"/>
                  </a:lnTo>
                  <a:lnTo>
                    <a:pt x="191" y="86"/>
                  </a:lnTo>
                  <a:lnTo>
                    <a:pt x="187" y="86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25" y="98"/>
                  </a:lnTo>
                  <a:lnTo>
                    <a:pt x="115" y="98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86" y="92"/>
                  </a:lnTo>
                  <a:lnTo>
                    <a:pt x="80" y="9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4" y="72"/>
                  </a:lnTo>
                  <a:lnTo>
                    <a:pt x="100" y="70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3" y="62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0" y="50"/>
                  </a:lnTo>
                  <a:lnTo>
                    <a:pt x="82" y="48"/>
                  </a:lnTo>
                  <a:lnTo>
                    <a:pt x="74" y="46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48" y="62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2" y="56"/>
                  </a:lnTo>
                  <a:lnTo>
                    <a:pt x="26" y="46"/>
                  </a:lnTo>
                  <a:lnTo>
                    <a:pt x="22" y="38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1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10" y="48"/>
                  </a:lnTo>
                  <a:lnTo>
                    <a:pt x="10" y="6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8"/>
                  </a:lnTo>
                  <a:lnTo>
                    <a:pt x="18" y="82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2" y="100"/>
                  </a:lnTo>
                  <a:lnTo>
                    <a:pt x="34" y="104"/>
                  </a:lnTo>
                  <a:lnTo>
                    <a:pt x="34" y="112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28" y="128"/>
                  </a:lnTo>
                  <a:lnTo>
                    <a:pt x="30" y="134"/>
                  </a:lnTo>
                  <a:lnTo>
                    <a:pt x="32" y="140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66"/>
                  </a:lnTo>
                  <a:lnTo>
                    <a:pt x="32" y="166"/>
                  </a:lnTo>
                  <a:lnTo>
                    <a:pt x="32" y="180"/>
                  </a:lnTo>
                  <a:lnTo>
                    <a:pt x="36" y="190"/>
                  </a:lnTo>
                  <a:lnTo>
                    <a:pt x="40" y="194"/>
                  </a:lnTo>
                  <a:lnTo>
                    <a:pt x="42" y="196"/>
                  </a:lnTo>
                  <a:lnTo>
                    <a:pt x="42" y="196"/>
                  </a:lnTo>
                  <a:lnTo>
                    <a:pt x="40" y="224"/>
                  </a:lnTo>
                  <a:lnTo>
                    <a:pt x="40" y="246"/>
                  </a:lnTo>
                  <a:lnTo>
                    <a:pt x="42" y="25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52" y="284"/>
                  </a:lnTo>
                  <a:lnTo>
                    <a:pt x="56" y="296"/>
                  </a:lnTo>
                  <a:lnTo>
                    <a:pt x="58" y="318"/>
                  </a:lnTo>
                  <a:lnTo>
                    <a:pt x="58" y="318"/>
                  </a:lnTo>
                  <a:lnTo>
                    <a:pt x="62" y="336"/>
                  </a:lnTo>
                  <a:lnTo>
                    <a:pt x="68" y="346"/>
                  </a:lnTo>
                  <a:lnTo>
                    <a:pt x="68" y="346"/>
                  </a:lnTo>
                  <a:lnTo>
                    <a:pt x="68" y="352"/>
                  </a:lnTo>
                  <a:lnTo>
                    <a:pt x="68" y="356"/>
                  </a:lnTo>
                  <a:lnTo>
                    <a:pt x="68" y="362"/>
                  </a:lnTo>
                  <a:lnTo>
                    <a:pt x="50" y="386"/>
                  </a:lnTo>
                  <a:lnTo>
                    <a:pt x="12" y="386"/>
                  </a:lnTo>
                  <a:lnTo>
                    <a:pt x="12" y="412"/>
                  </a:lnTo>
                  <a:lnTo>
                    <a:pt x="193" y="412"/>
                  </a:lnTo>
                  <a:lnTo>
                    <a:pt x="193" y="382"/>
                  </a:lnTo>
                  <a:lnTo>
                    <a:pt x="173" y="382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3" y="368"/>
                  </a:lnTo>
                  <a:lnTo>
                    <a:pt x="173" y="364"/>
                  </a:lnTo>
                  <a:lnTo>
                    <a:pt x="173" y="356"/>
                  </a:lnTo>
                  <a:lnTo>
                    <a:pt x="171" y="342"/>
                  </a:lnTo>
                  <a:lnTo>
                    <a:pt x="171" y="342"/>
                  </a:lnTo>
                  <a:lnTo>
                    <a:pt x="175" y="342"/>
                  </a:lnTo>
                  <a:lnTo>
                    <a:pt x="179" y="342"/>
                  </a:lnTo>
                  <a:lnTo>
                    <a:pt x="181" y="338"/>
                  </a:lnTo>
                  <a:lnTo>
                    <a:pt x="181" y="338"/>
                  </a:lnTo>
                  <a:lnTo>
                    <a:pt x="187" y="330"/>
                  </a:lnTo>
                  <a:lnTo>
                    <a:pt x="187" y="330"/>
                  </a:lnTo>
                  <a:lnTo>
                    <a:pt x="179" y="322"/>
                  </a:lnTo>
                  <a:lnTo>
                    <a:pt x="169" y="310"/>
                  </a:lnTo>
                  <a:lnTo>
                    <a:pt x="145" y="276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3" y="220"/>
                  </a:lnTo>
                  <a:lnTo>
                    <a:pt x="109" y="212"/>
                  </a:lnTo>
                  <a:lnTo>
                    <a:pt x="105" y="204"/>
                  </a:lnTo>
                  <a:lnTo>
                    <a:pt x="100" y="200"/>
                  </a:lnTo>
                  <a:lnTo>
                    <a:pt x="90" y="192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92" y="154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81" y="106"/>
                  </a:lnTo>
                  <a:lnTo>
                    <a:pt x="189" y="106"/>
                  </a:lnTo>
                  <a:lnTo>
                    <a:pt x="197" y="108"/>
                  </a:lnTo>
                  <a:lnTo>
                    <a:pt x="197" y="108"/>
                  </a:lnTo>
                  <a:lnTo>
                    <a:pt x="201" y="110"/>
                  </a:lnTo>
                  <a:lnTo>
                    <a:pt x="205" y="110"/>
                  </a:lnTo>
                  <a:lnTo>
                    <a:pt x="213" y="106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1" y="98"/>
                  </a:lnTo>
                  <a:lnTo>
                    <a:pt x="211" y="9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Line 153"/>
            <p:cNvSpPr>
              <a:spLocks noChangeShapeType="1"/>
            </p:cNvSpPr>
            <p:nvPr/>
          </p:nvSpPr>
          <p:spPr bwMode="auto">
            <a:xfrm flipV="1">
              <a:off x="7012225" y="5964729"/>
              <a:ext cx="160424" cy="312099"/>
            </a:xfrm>
            <a:prstGeom prst="line">
              <a:avLst/>
            </a:prstGeom>
            <a:noFill/>
            <a:ln w="12700">
              <a:solidFill>
                <a:srgbClr val="84E0F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57"/>
            <p:cNvSpPr>
              <a:spLocks/>
            </p:cNvSpPr>
            <p:nvPr/>
          </p:nvSpPr>
          <p:spPr bwMode="auto">
            <a:xfrm>
              <a:off x="1621481" y="6299713"/>
              <a:ext cx="942964" cy="475369"/>
            </a:xfrm>
            <a:custGeom>
              <a:avLst/>
              <a:gdLst>
                <a:gd name="T0" fmla="*/ 712 w 728"/>
                <a:gd name="T1" fmla="*/ 195 h 367"/>
                <a:gd name="T2" fmla="*/ 678 w 728"/>
                <a:gd name="T3" fmla="*/ 166 h 367"/>
                <a:gd name="T4" fmla="*/ 646 w 728"/>
                <a:gd name="T5" fmla="*/ 195 h 367"/>
                <a:gd name="T6" fmla="*/ 612 w 728"/>
                <a:gd name="T7" fmla="*/ 166 h 367"/>
                <a:gd name="T8" fmla="*/ 578 w 728"/>
                <a:gd name="T9" fmla="*/ 195 h 367"/>
                <a:gd name="T10" fmla="*/ 546 w 728"/>
                <a:gd name="T11" fmla="*/ 166 h 367"/>
                <a:gd name="T12" fmla="*/ 512 w 728"/>
                <a:gd name="T13" fmla="*/ 195 h 367"/>
                <a:gd name="T14" fmla="*/ 494 w 728"/>
                <a:gd name="T15" fmla="*/ 82 h 367"/>
                <a:gd name="T16" fmla="*/ 510 w 728"/>
                <a:gd name="T17" fmla="*/ 28 h 367"/>
                <a:gd name="T18" fmla="*/ 510 w 728"/>
                <a:gd name="T19" fmla="*/ 0 h 367"/>
                <a:gd name="T20" fmla="*/ 494 w 728"/>
                <a:gd name="T21" fmla="*/ 28 h 367"/>
                <a:gd name="T22" fmla="*/ 484 w 728"/>
                <a:gd name="T23" fmla="*/ 0 h 367"/>
                <a:gd name="T24" fmla="*/ 462 w 728"/>
                <a:gd name="T25" fmla="*/ 28 h 367"/>
                <a:gd name="T26" fmla="*/ 450 w 728"/>
                <a:gd name="T27" fmla="*/ 0 h 367"/>
                <a:gd name="T28" fmla="*/ 434 w 728"/>
                <a:gd name="T29" fmla="*/ 28 h 367"/>
                <a:gd name="T30" fmla="*/ 410 w 728"/>
                <a:gd name="T31" fmla="*/ 104 h 367"/>
                <a:gd name="T32" fmla="*/ 394 w 728"/>
                <a:gd name="T33" fmla="*/ 132 h 367"/>
                <a:gd name="T34" fmla="*/ 360 w 728"/>
                <a:gd name="T35" fmla="*/ 104 h 367"/>
                <a:gd name="T36" fmla="*/ 344 w 728"/>
                <a:gd name="T37" fmla="*/ 132 h 367"/>
                <a:gd name="T38" fmla="*/ 310 w 728"/>
                <a:gd name="T39" fmla="*/ 104 h 367"/>
                <a:gd name="T40" fmla="*/ 298 w 728"/>
                <a:gd name="T41" fmla="*/ 132 h 367"/>
                <a:gd name="T42" fmla="*/ 294 w 728"/>
                <a:gd name="T43" fmla="*/ 0 h 367"/>
                <a:gd name="T44" fmla="*/ 278 w 728"/>
                <a:gd name="T45" fmla="*/ 28 h 367"/>
                <a:gd name="T46" fmla="*/ 268 w 728"/>
                <a:gd name="T47" fmla="*/ 0 h 367"/>
                <a:gd name="T48" fmla="*/ 246 w 728"/>
                <a:gd name="T49" fmla="*/ 28 h 367"/>
                <a:gd name="T50" fmla="*/ 234 w 728"/>
                <a:gd name="T51" fmla="*/ 0 h 367"/>
                <a:gd name="T52" fmla="*/ 218 w 728"/>
                <a:gd name="T53" fmla="*/ 56 h 367"/>
                <a:gd name="T54" fmla="*/ 218 w 728"/>
                <a:gd name="T55" fmla="*/ 82 h 367"/>
                <a:gd name="T56" fmla="*/ 224 w 728"/>
                <a:gd name="T57" fmla="*/ 195 h 367"/>
                <a:gd name="T58" fmla="*/ 214 w 728"/>
                <a:gd name="T59" fmla="*/ 166 h 367"/>
                <a:gd name="T60" fmla="*/ 182 w 728"/>
                <a:gd name="T61" fmla="*/ 195 h 367"/>
                <a:gd name="T62" fmla="*/ 148 w 728"/>
                <a:gd name="T63" fmla="*/ 166 h 367"/>
                <a:gd name="T64" fmla="*/ 116 w 728"/>
                <a:gd name="T65" fmla="*/ 195 h 367"/>
                <a:gd name="T66" fmla="*/ 82 w 728"/>
                <a:gd name="T67" fmla="*/ 166 h 367"/>
                <a:gd name="T68" fmla="*/ 50 w 728"/>
                <a:gd name="T69" fmla="*/ 195 h 367"/>
                <a:gd name="T70" fmla="*/ 16 w 728"/>
                <a:gd name="T71" fmla="*/ 166 h 367"/>
                <a:gd name="T72" fmla="*/ 0 w 728"/>
                <a:gd name="T73" fmla="*/ 195 h 367"/>
                <a:gd name="T74" fmla="*/ 0 w 728"/>
                <a:gd name="T75" fmla="*/ 367 h 367"/>
                <a:gd name="T76" fmla="*/ 728 w 728"/>
                <a:gd name="T77" fmla="*/ 223 h 367"/>
                <a:gd name="T78" fmla="*/ 728 w 728"/>
                <a:gd name="T79" fmla="*/ 1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8" h="367">
                  <a:moveTo>
                    <a:pt x="712" y="166"/>
                  </a:moveTo>
                  <a:lnTo>
                    <a:pt x="712" y="195"/>
                  </a:lnTo>
                  <a:lnTo>
                    <a:pt x="678" y="195"/>
                  </a:lnTo>
                  <a:lnTo>
                    <a:pt x="678" y="166"/>
                  </a:lnTo>
                  <a:lnTo>
                    <a:pt x="646" y="166"/>
                  </a:lnTo>
                  <a:lnTo>
                    <a:pt x="646" y="195"/>
                  </a:lnTo>
                  <a:lnTo>
                    <a:pt x="612" y="195"/>
                  </a:lnTo>
                  <a:lnTo>
                    <a:pt x="612" y="166"/>
                  </a:lnTo>
                  <a:lnTo>
                    <a:pt x="578" y="166"/>
                  </a:lnTo>
                  <a:lnTo>
                    <a:pt x="578" y="195"/>
                  </a:lnTo>
                  <a:lnTo>
                    <a:pt x="546" y="195"/>
                  </a:lnTo>
                  <a:lnTo>
                    <a:pt x="546" y="166"/>
                  </a:lnTo>
                  <a:lnTo>
                    <a:pt x="512" y="166"/>
                  </a:lnTo>
                  <a:lnTo>
                    <a:pt x="512" y="195"/>
                  </a:lnTo>
                  <a:lnTo>
                    <a:pt x="502" y="195"/>
                  </a:lnTo>
                  <a:lnTo>
                    <a:pt x="494" y="82"/>
                  </a:lnTo>
                  <a:lnTo>
                    <a:pt x="510" y="82"/>
                  </a:lnTo>
                  <a:lnTo>
                    <a:pt x="510" y="28"/>
                  </a:lnTo>
                  <a:lnTo>
                    <a:pt x="510" y="28"/>
                  </a:lnTo>
                  <a:lnTo>
                    <a:pt x="510" y="0"/>
                  </a:lnTo>
                  <a:lnTo>
                    <a:pt x="494" y="0"/>
                  </a:lnTo>
                  <a:lnTo>
                    <a:pt x="494" y="28"/>
                  </a:lnTo>
                  <a:lnTo>
                    <a:pt x="484" y="28"/>
                  </a:lnTo>
                  <a:lnTo>
                    <a:pt x="484" y="0"/>
                  </a:lnTo>
                  <a:lnTo>
                    <a:pt x="462" y="0"/>
                  </a:lnTo>
                  <a:lnTo>
                    <a:pt x="462" y="28"/>
                  </a:lnTo>
                  <a:lnTo>
                    <a:pt x="450" y="28"/>
                  </a:lnTo>
                  <a:lnTo>
                    <a:pt x="450" y="0"/>
                  </a:lnTo>
                  <a:lnTo>
                    <a:pt x="434" y="0"/>
                  </a:lnTo>
                  <a:lnTo>
                    <a:pt x="434" y="28"/>
                  </a:lnTo>
                  <a:lnTo>
                    <a:pt x="430" y="104"/>
                  </a:lnTo>
                  <a:lnTo>
                    <a:pt x="410" y="104"/>
                  </a:lnTo>
                  <a:lnTo>
                    <a:pt x="410" y="132"/>
                  </a:lnTo>
                  <a:lnTo>
                    <a:pt x="394" y="132"/>
                  </a:lnTo>
                  <a:lnTo>
                    <a:pt x="394" y="104"/>
                  </a:lnTo>
                  <a:lnTo>
                    <a:pt x="360" y="104"/>
                  </a:lnTo>
                  <a:lnTo>
                    <a:pt x="360" y="132"/>
                  </a:lnTo>
                  <a:lnTo>
                    <a:pt x="344" y="132"/>
                  </a:lnTo>
                  <a:lnTo>
                    <a:pt x="344" y="104"/>
                  </a:lnTo>
                  <a:lnTo>
                    <a:pt x="310" y="104"/>
                  </a:lnTo>
                  <a:lnTo>
                    <a:pt x="310" y="132"/>
                  </a:lnTo>
                  <a:lnTo>
                    <a:pt x="298" y="132"/>
                  </a:lnTo>
                  <a:lnTo>
                    <a:pt x="294" y="46"/>
                  </a:lnTo>
                  <a:lnTo>
                    <a:pt x="294" y="0"/>
                  </a:lnTo>
                  <a:lnTo>
                    <a:pt x="278" y="0"/>
                  </a:lnTo>
                  <a:lnTo>
                    <a:pt x="278" y="28"/>
                  </a:lnTo>
                  <a:lnTo>
                    <a:pt x="268" y="28"/>
                  </a:lnTo>
                  <a:lnTo>
                    <a:pt x="268" y="0"/>
                  </a:lnTo>
                  <a:lnTo>
                    <a:pt x="246" y="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8" y="82"/>
                  </a:lnTo>
                  <a:lnTo>
                    <a:pt x="232" y="82"/>
                  </a:lnTo>
                  <a:lnTo>
                    <a:pt x="224" y="195"/>
                  </a:lnTo>
                  <a:lnTo>
                    <a:pt x="214" y="195"/>
                  </a:lnTo>
                  <a:lnTo>
                    <a:pt x="214" y="166"/>
                  </a:lnTo>
                  <a:lnTo>
                    <a:pt x="182" y="166"/>
                  </a:lnTo>
                  <a:lnTo>
                    <a:pt x="182" y="195"/>
                  </a:lnTo>
                  <a:lnTo>
                    <a:pt x="148" y="195"/>
                  </a:lnTo>
                  <a:lnTo>
                    <a:pt x="148" y="166"/>
                  </a:lnTo>
                  <a:lnTo>
                    <a:pt x="116" y="166"/>
                  </a:lnTo>
                  <a:lnTo>
                    <a:pt x="116" y="195"/>
                  </a:lnTo>
                  <a:lnTo>
                    <a:pt x="82" y="195"/>
                  </a:lnTo>
                  <a:lnTo>
                    <a:pt x="82" y="166"/>
                  </a:lnTo>
                  <a:lnTo>
                    <a:pt x="50" y="166"/>
                  </a:lnTo>
                  <a:lnTo>
                    <a:pt x="50" y="195"/>
                  </a:lnTo>
                  <a:lnTo>
                    <a:pt x="16" y="195"/>
                  </a:lnTo>
                  <a:lnTo>
                    <a:pt x="16" y="166"/>
                  </a:lnTo>
                  <a:lnTo>
                    <a:pt x="0" y="166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367"/>
                  </a:lnTo>
                  <a:lnTo>
                    <a:pt x="728" y="367"/>
                  </a:lnTo>
                  <a:lnTo>
                    <a:pt x="728" y="223"/>
                  </a:lnTo>
                  <a:lnTo>
                    <a:pt x="728" y="195"/>
                  </a:lnTo>
                  <a:lnTo>
                    <a:pt x="728" y="166"/>
                  </a:lnTo>
                  <a:lnTo>
                    <a:pt x="712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81"/>
            <p:cNvSpPr>
              <a:spLocks noEditPoints="1"/>
            </p:cNvSpPr>
            <p:nvPr/>
          </p:nvSpPr>
          <p:spPr bwMode="auto">
            <a:xfrm>
              <a:off x="10188690" y="6098786"/>
              <a:ext cx="257689" cy="655509"/>
            </a:xfrm>
            <a:custGeom>
              <a:avLst/>
              <a:gdLst>
                <a:gd name="T0" fmla="*/ 256 w 274"/>
                <a:gd name="T1" fmla="*/ 603 h 697"/>
                <a:gd name="T2" fmla="*/ 232 w 274"/>
                <a:gd name="T3" fmla="*/ 483 h 697"/>
                <a:gd name="T4" fmla="*/ 200 w 274"/>
                <a:gd name="T5" fmla="*/ 314 h 697"/>
                <a:gd name="T6" fmla="*/ 220 w 274"/>
                <a:gd name="T7" fmla="*/ 258 h 697"/>
                <a:gd name="T8" fmla="*/ 220 w 274"/>
                <a:gd name="T9" fmla="*/ 204 h 697"/>
                <a:gd name="T10" fmla="*/ 184 w 274"/>
                <a:gd name="T11" fmla="*/ 186 h 697"/>
                <a:gd name="T12" fmla="*/ 208 w 274"/>
                <a:gd name="T13" fmla="*/ 168 h 697"/>
                <a:gd name="T14" fmla="*/ 194 w 274"/>
                <a:gd name="T15" fmla="*/ 132 h 697"/>
                <a:gd name="T16" fmla="*/ 194 w 274"/>
                <a:gd name="T17" fmla="*/ 132 h 697"/>
                <a:gd name="T18" fmla="*/ 190 w 274"/>
                <a:gd name="T19" fmla="*/ 110 h 697"/>
                <a:gd name="T20" fmla="*/ 182 w 274"/>
                <a:gd name="T21" fmla="*/ 92 h 697"/>
                <a:gd name="T22" fmla="*/ 168 w 274"/>
                <a:gd name="T23" fmla="*/ 78 h 697"/>
                <a:gd name="T24" fmla="*/ 152 w 274"/>
                <a:gd name="T25" fmla="*/ 70 h 697"/>
                <a:gd name="T26" fmla="*/ 144 w 274"/>
                <a:gd name="T27" fmla="*/ 48 h 697"/>
                <a:gd name="T28" fmla="*/ 136 w 274"/>
                <a:gd name="T29" fmla="*/ 0 h 697"/>
                <a:gd name="T30" fmla="*/ 128 w 274"/>
                <a:gd name="T31" fmla="*/ 48 h 697"/>
                <a:gd name="T32" fmla="*/ 128 w 274"/>
                <a:gd name="T33" fmla="*/ 70 h 697"/>
                <a:gd name="T34" fmla="*/ 112 w 274"/>
                <a:gd name="T35" fmla="*/ 78 h 697"/>
                <a:gd name="T36" fmla="*/ 100 w 274"/>
                <a:gd name="T37" fmla="*/ 92 h 697"/>
                <a:gd name="T38" fmla="*/ 92 w 274"/>
                <a:gd name="T39" fmla="*/ 110 h 697"/>
                <a:gd name="T40" fmla="*/ 88 w 274"/>
                <a:gd name="T41" fmla="*/ 132 h 697"/>
                <a:gd name="T42" fmla="*/ 86 w 274"/>
                <a:gd name="T43" fmla="*/ 168 h 697"/>
                <a:gd name="T44" fmla="*/ 72 w 274"/>
                <a:gd name="T45" fmla="*/ 186 h 697"/>
                <a:gd name="T46" fmla="*/ 96 w 274"/>
                <a:gd name="T47" fmla="*/ 204 h 697"/>
                <a:gd name="T48" fmla="*/ 62 w 274"/>
                <a:gd name="T49" fmla="*/ 258 h 697"/>
                <a:gd name="T50" fmla="*/ 58 w 274"/>
                <a:gd name="T51" fmla="*/ 258 h 697"/>
                <a:gd name="T52" fmla="*/ 70 w 274"/>
                <a:gd name="T53" fmla="*/ 483 h 697"/>
                <a:gd name="T54" fmla="*/ 36 w 274"/>
                <a:gd name="T55" fmla="*/ 603 h 697"/>
                <a:gd name="T56" fmla="*/ 0 w 274"/>
                <a:gd name="T57" fmla="*/ 647 h 697"/>
                <a:gd name="T58" fmla="*/ 20 w 274"/>
                <a:gd name="T59" fmla="*/ 697 h 697"/>
                <a:gd name="T60" fmla="*/ 120 w 274"/>
                <a:gd name="T61" fmla="*/ 258 h 697"/>
                <a:gd name="T62" fmla="*/ 158 w 274"/>
                <a:gd name="T63" fmla="*/ 212 h 697"/>
                <a:gd name="T64" fmla="*/ 120 w 274"/>
                <a:gd name="T65" fmla="*/ 258 h 697"/>
                <a:gd name="T66" fmla="*/ 212 w 274"/>
                <a:gd name="T67" fmla="*/ 258 h 697"/>
                <a:gd name="T68" fmla="*/ 184 w 274"/>
                <a:gd name="T69" fmla="*/ 258 h 697"/>
                <a:gd name="T70" fmla="*/ 212 w 274"/>
                <a:gd name="T71" fmla="*/ 212 h 697"/>
                <a:gd name="T72" fmla="*/ 128 w 274"/>
                <a:gd name="T73" fmla="*/ 168 h 697"/>
                <a:gd name="T74" fmla="*/ 114 w 274"/>
                <a:gd name="T75" fmla="*/ 140 h 697"/>
                <a:gd name="T76" fmla="*/ 136 w 274"/>
                <a:gd name="T77" fmla="*/ 140 h 697"/>
                <a:gd name="T78" fmla="*/ 146 w 274"/>
                <a:gd name="T79" fmla="*/ 168 h 697"/>
                <a:gd name="T80" fmla="*/ 136 w 274"/>
                <a:gd name="T81" fmla="*/ 140 h 697"/>
                <a:gd name="T82" fmla="*/ 166 w 274"/>
                <a:gd name="T83" fmla="*/ 140 h 697"/>
                <a:gd name="T84" fmla="*/ 154 w 274"/>
                <a:gd name="T85" fmla="*/ 168 h 697"/>
                <a:gd name="T86" fmla="*/ 174 w 274"/>
                <a:gd name="T87" fmla="*/ 168 h 697"/>
                <a:gd name="T88" fmla="*/ 186 w 274"/>
                <a:gd name="T89" fmla="*/ 140 h 697"/>
                <a:gd name="T90" fmla="*/ 174 w 274"/>
                <a:gd name="T91" fmla="*/ 168 h 697"/>
                <a:gd name="T92" fmla="*/ 94 w 274"/>
                <a:gd name="T93" fmla="*/ 140 h 697"/>
                <a:gd name="T94" fmla="*/ 106 w 274"/>
                <a:gd name="T95" fmla="*/ 168 h 697"/>
                <a:gd name="T96" fmla="*/ 120 w 274"/>
                <a:gd name="T97" fmla="*/ 186 h 697"/>
                <a:gd name="T98" fmla="*/ 158 w 274"/>
                <a:gd name="T99" fmla="*/ 204 h 697"/>
                <a:gd name="T100" fmla="*/ 120 w 274"/>
                <a:gd name="T101" fmla="*/ 186 h 697"/>
                <a:gd name="T102" fmla="*/ 70 w 274"/>
                <a:gd name="T103" fmla="*/ 258 h 697"/>
                <a:gd name="T104" fmla="*/ 96 w 274"/>
                <a:gd name="T105" fmla="*/ 212 h 697"/>
                <a:gd name="T106" fmla="*/ 70 w 274"/>
                <a:gd name="T107" fmla="*/ 258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697">
                  <a:moveTo>
                    <a:pt x="274" y="697"/>
                  </a:moveTo>
                  <a:lnTo>
                    <a:pt x="256" y="603"/>
                  </a:lnTo>
                  <a:lnTo>
                    <a:pt x="248" y="603"/>
                  </a:lnTo>
                  <a:lnTo>
                    <a:pt x="232" y="483"/>
                  </a:lnTo>
                  <a:lnTo>
                    <a:pt x="220" y="483"/>
                  </a:lnTo>
                  <a:lnTo>
                    <a:pt x="200" y="314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04"/>
                  </a:lnTo>
                  <a:lnTo>
                    <a:pt x="184" y="204"/>
                  </a:lnTo>
                  <a:lnTo>
                    <a:pt x="184" y="186"/>
                  </a:lnTo>
                  <a:lnTo>
                    <a:pt x="208" y="186"/>
                  </a:lnTo>
                  <a:lnTo>
                    <a:pt x="208" y="168"/>
                  </a:lnTo>
                  <a:lnTo>
                    <a:pt x="194" y="168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2" y="120"/>
                  </a:lnTo>
                  <a:lnTo>
                    <a:pt x="190" y="110"/>
                  </a:lnTo>
                  <a:lnTo>
                    <a:pt x="186" y="100"/>
                  </a:lnTo>
                  <a:lnTo>
                    <a:pt x="182" y="92"/>
                  </a:lnTo>
                  <a:lnTo>
                    <a:pt x="176" y="84"/>
                  </a:lnTo>
                  <a:lnTo>
                    <a:pt x="168" y="78"/>
                  </a:lnTo>
                  <a:lnTo>
                    <a:pt x="160" y="74"/>
                  </a:lnTo>
                  <a:lnTo>
                    <a:pt x="152" y="70"/>
                  </a:lnTo>
                  <a:lnTo>
                    <a:pt x="152" y="48"/>
                  </a:lnTo>
                  <a:lnTo>
                    <a:pt x="144" y="48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36" y="48"/>
                  </a:lnTo>
                  <a:lnTo>
                    <a:pt x="128" y="48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0" y="74"/>
                  </a:lnTo>
                  <a:lnTo>
                    <a:pt x="112" y="78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4" y="100"/>
                  </a:lnTo>
                  <a:lnTo>
                    <a:pt x="92" y="110"/>
                  </a:lnTo>
                  <a:lnTo>
                    <a:pt x="88" y="12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68"/>
                  </a:lnTo>
                  <a:lnTo>
                    <a:pt x="72" y="168"/>
                  </a:lnTo>
                  <a:lnTo>
                    <a:pt x="72" y="186"/>
                  </a:lnTo>
                  <a:lnTo>
                    <a:pt x="96" y="186"/>
                  </a:lnTo>
                  <a:lnTo>
                    <a:pt x="96" y="204"/>
                  </a:lnTo>
                  <a:lnTo>
                    <a:pt x="62" y="204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58" y="258"/>
                  </a:lnTo>
                  <a:lnTo>
                    <a:pt x="84" y="314"/>
                  </a:lnTo>
                  <a:lnTo>
                    <a:pt x="70" y="483"/>
                  </a:lnTo>
                  <a:lnTo>
                    <a:pt x="56" y="483"/>
                  </a:lnTo>
                  <a:lnTo>
                    <a:pt x="36" y="603"/>
                  </a:lnTo>
                  <a:lnTo>
                    <a:pt x="0" y="603"/>
                  </a:lnTo>
                  <a:lnTo>
                    <a:pt x="0" y="647"/>
                  </a:lnTo>
                  <a:lnTo>
                    <a:pt x="20" y="647"/>
                  </a:lnTo>
                  <a:lnTo>
                    <a:pt x="20" y="697"/>
                  </a:lnTo>
                  <a:lnTo>
                    <a:pt x="274" y="697"/>
                  </a:lnTo>
                  <a:close/>
                  <a:moveTo>
                    <a:pt x="120" y="258"/>
                  </a:moveTo>
                  <a:lnTo>
                    <a:pt x="120" y="212"/>
                  </a:lnTo>
                  <a:lnTo>
                    <a:pt x="158" y="212"/>
                  </a:lnTo>
                  <a:lnTo>
                    <a:pt x="158" y="258"/>
                  </a:lnTo>
                  <a:lnTo>
                    <a:pt x="120" y="258"/>
                  </a:lnTo>
                  <a:close/>
                  <a:moveTo>
                    <a:pt x="212" y="212"/>
                  </a:moveTo>
                  <a:lnTo>
                    <a:pt x="212" y="258"/>
                  </a:lnTo>
                  <a:lnTo>
                    <a:pt x="212" y="258"/>
                  </a:lnTo>
                  <a:lnTo>
                    <a:pt x="184" y="258"/>
                  </a:lnTo>
                  <a:lnTo>
                    <a:pt x="184" y="212"/>
                  </a:lnTo>
                  <a:lnTo>
                    <a:pt x="212" y="212"/>
                  </a:lnTo>
                  <a:close/>
                  <a:moveTo>
                    <a:pt x="128" y="140"/>
                  </a:moveTo>
                  <a:lnTo>
                    <a:pt x="128" y="168"/>
                  </a:lnTo>
                  <a:lnTo>
                    <a:pt x="114" y="168"/>
                  </a:lnTo>
                  <a:lnTo>
                    <a:pt x="114" y="140"/>
                  </a:lnTo>
                  <a:lnTo>
                    <a:pt x="128" y="140"/>
                  </a:lnTo>
                  <a:close/>
                  <a:moveTo>
                    <a:pt x="136" y="140"/>
                  </a:moveTo>
                  <a:lnTo>
                    <a:pt x="146" y="140"/>
                  </a:lnTo>
                  <a:lnTo>
                    <a:pt x="146" y="168"/>
                  </a:lnTo>
                  <a:lnTo>
                    <a:pt x="136" y="168"/>
                  </a:lnTo>
                  <a:lnTo>
                    <a:pt x="136" y="140"/>
                  </a:lnTo>
                  <a:close/>
                  <a:moveTo>
                    <a:pt x="154" y="140"/>
                  </a:moveTo>
                  <a:lnTo>
                    <a:pt x="166" y="140"/>
                  </a:lnTo>
                  <a:lnTo>
                    <a:pt x="166" y="168"/>
                  </a:lnTo>
                  <a:lnTo>
                    <a:pt x="154" y="168"/>
                  </a:lnTo>
                  <a:lnTo>
                    <a:pt x="154" y="140"/>
                  </a:lnTo>
                  <a:close/>
                  <a:moveTo>
                    <a:pt x="174" y="168"/>
                  </a:moveTo>
                  <a:lnTo>
                    <a:pt x="174" y="140"/>
                  </a:lnTo>
                  <a:lnTo>
                    <a:pt x="186" y="140"/>
                  </a:lnTo>
                  <a:lnTo>
                    <a:pt x="186" y="168"/>
                  </a:lnTo>
                  <a:lnTo>
                    <a:pt x="174" y="168"/>
                  </a:lnTo>
                  <a:close/>
                  <a:moveTo>
                    <a:pt x="94" y="168"/>
                  </a:moveTo>
                  <a:lnTo>
                    <a:pt x="94" y="140"/>
                  </a:lnTo>
                  <a:lnTo>
                    <a:pt x="106" y="140"/>
                  </a:lnTo>
                  <a:lnTo>
                    <a:pt x="106" y="168"/>
                  </a:lnTo>
                  <a:lnTo>
                    <a:pt x="94" y="168"/>
                  </a:lnTo>
                  <a:close/>
                  <a:moveTo>
                    <a:pt x="120" y="186"/>
                  </a:moveTo>
                  <a:lnTo>
                    <a:pt x="158" y="186"/>
                  </a:lnTo>
                  <a:lnTo>
                    <a:pt x="158" y="204"/>
                  </a:lnTo>
                  <a:lnTo>
                    <a:pt x="120" y="204"/>
                  </a:lnTo>
                  <a:lnTo>
                    <a:pt x="120" y="18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12"/>
                  </a:lnTo>
                  <a:lnTo>
                    <a:pt x="96" y="212"/>
                  </a:lnTo>
                  <a:lnTo>
                    <a:pt x="96" y="258"/>
                  </a:lnTo>
                  <a:lnTo>
                    <a:pt x="70" y="25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87"/>
            <p:cNvSpPr>
              <a:spLocks/>
            </p:cNvSpPr>
            <p:nvPr/>
          </p:nvSpPr>
          <p:spPr bwMode="auto">
            <a:xfrm>
              <a:off x="11715512" y="6092291"/>
              <a:ext cx="329892" cy="632054"/>
            </a:xfrm>
            <a:custGeom>
              <a:avLst/>
              <a:gdLst>
                <a:gd name="T0" fmla="*/ 335 w 345"/>
                <a:gd name="T1" fmla="*/ 619 h 661"/>
                <a:gd name="T2" fmla="*/ 329 w 345"/>
                <a:gd name="T3" fmla="*/ 597 h 661"/>
                <a:gd name="T4" fmla="*/ 321 w 345"/>
                <a:gd name="T5" fmla="*/ 599 h 661"/>
                <a:gd name="T6" fmla="*/ 319 w 345"/>
                <a:gd name="T7" fmla="*/ 609 h 661"/>
                <a:gd name="T8" fmla="*/ 313 w 345"/>
                <a:gd name="T9" fmla="*/ 577 h 661"/>
                <a:gd name="T10" fmla="*/ 305 w 345"/>
                <a:gd name="T11" fmla="*/ 575 h 661"/>
                <a:gd name="T12" fmla="*/ 303 w 345"/>
                <a:gd name="T13" fmla="*/ 583 h 661"/>
                <a:gd name="T14" fmla="*/ 297 w 345"/>
                <a:gd name="T15" fmla="*/ 563 h 661"/>
                <a:gd name="T16" fmla="*/ 291 w 345"/>
                <a:gd name="T17" fmla="*/ 561 h 661"/>
                <a:gd name="T18" fmla="*/ 285 w 345"/>
                <a:gd name="T19" fmla="*/ 583 h 661"/>
                <a:gd name="T20" fmla="*/ 217 w 345"/>
                <a:gd name="T21" fmla="*/ 232 h 661"/>
                <a:gd name="T22" fmla="*/ 211 w 345"/>
                <a:gd name="T23" fmla="*/ 214 h 661"/>
                <a:gd name="T24" fmla="*/ 207 w 345"/>
                <a:gd name="T25" fmla="*/ 130 h 661"/>
                <a:gd name="T26" fmla="*/ 197 w 345"/>
                <a:gd name="T27" fmla="*/ 96 h 661"/>
                <a:gd name="T28" fmla="*/ 195 w 345"/>
                <a:gd name="T29" fmla="*/ 86 h 661"/>
                <a:gd name="T30" fmla="*/ 195 w 345"/>
                <a:gd name="T31" fmla="*/ 72 h 661"/>
                <a:gd name="T32" fmla="*/ 255 w 345"/>
                <a:gd name="T33" fmla="*/ 56 h 661"/>
                <a:gd name="T34" fmla="*/ 269 w 345"/>
                <a:gd name="T35" fmla="*/ 54 h 661"/>
                <a:gd name="T36" fmla="*/ 281 w 345"/>
                <a:gd name="T37" fmla="*/ 52 h 661"/>
                <a:gd name="T38" fmla="*/ 293 w 345"/>
                <a:gd name="T39" fmla="*/ 48 h 661"/>
                <a:gd name="T40" fmla="*/ 283 w 345"/>
                <a:gd name="T41" fmla="*/ 40 h 661"/>
                <a:gd name="T42" fmla="*/ 279 w 345"/>
                <a:gd name="T43" fmla="*/ 36 h 661"/>
                <a:gd name="T44" fmla="*/ 263 w 345"/>
                <a:gd name="T45" fmla="*/ 40 h 661"/>
                <a:gd name="T46" fmla="*/ 225 w 345"/>
                <a:gd name="T47" fmla="*/ 44 h 661"/>
                <a:gd name="T48" fmla="*/ 211 w 345"/>
                <a:gd name="T49" fmla="*/ 38 h 661"/>
                <a:gd name="T50" fmla="*/ 201 w 345"/>
                <a:gd name="T51" fmla="*/ 36 h 661"/>
                <a:gd name="T52" fmla="*/ 191 w 345"/>
                <a:gd name="T53" fmla="*/ 20 h 661"/>
                <a:gd name="T54" fmla="*/ 187 w 345"/>
                <a:gd name="T55" fmla="*/ 6 h 661"/>
                <a:gd name="T56" fmla="*/ 173 w 345"/>
                <a:gd name="T57" fmla="*/ 0 h 661"/>
                <a:gd name="T58" fmla="*/ 158 w 345"/>
                <a:gd name="T59" fmla="*/ 8 h 661"/>
                <a:gd name="T60" fmla="*/ 154 w 345"/>
                <a:gd name="T61" fmla="*/ 24 h 661"/>
                <a:gd name="T62" fmla="*/ 146 w 345"/>
                <a:gd name="T63" fmla="*/ 36 h 661"/>
                <a:gd name="T64" fmla="*/ 136 w 345"/>
                <a:gd name="T65" fmla="*/ 38 h 661"/>
                <a:gd name="T66" fmla="*/ 122 w 345"/>
                <a:gd name="T67" fmla="*/ 44 h 661"/>
                <a:gd name="T68" fmla="*/ 84 w 345"/>
                <a:gd name="T69" fmla="*/ 40 h 661"/>
                <a:gd name="T70" fmla="*/ 68 w 345"/>
                <a:gd name="T71" fmla="*/ 36 h 661"/>
                <a:gd name="T72" fmla="*/ 64 w 345"/>
                <a:gd name="T73" fmla="*/ 40 h 661"/>
                <a:gd name="T74" fmla="*/ 54 w 345"/>
                <a:gd name="T75" fmla="*/ 48 h 661"/>
                <a:gd name="T76" fmla="*/ 66 w 345"/>
                <a:gd name="T77" fmla="*/ 52 h 661"/>
                <a:gd name="T78" fmla="*/ 78 w 345"/>
                <a:gd name="T79" fmla="*/ 54 h 661"/>
                <a:gd name="T80" fmla="*/ 90 w 345"/>
                <a:gd name="T81" fmla="*/ 56 h 661"/>
                <a:gd name="T82" fmla="*/ 150 w 345"/>
                <a:gd name="T83" fmla="*/ 72 h 661"/>
                <a:gd name="T84" fmla="*/ 152 w 345"/>
                <a:gd name="T85" fmla="*/ 82 h 661"/>
                <a:gd name="T86" fmla="*/ 154 w 345"/>
                <a:gd name="T87" fmla="*/ 84 h 661"/>
                <a:gd name="T88" fmla="*/ 140 w 345"/>
                <a:gd name="T89" fmla="*/ 128 h 661"/>
                <a:gd name="T90" fmla="*/ 136 w 345"/>
                <a:gd name="T91" fmla="*/ 184 h 661"/>
                <a:gd name="T92" fmla="*/ 130 w 345"/>
                <a:gd name="T93" fmla="*/ 232 h 661"/>
                <a:gd name="T94" fmla="*/ 64 w 345"/>
                <a:gd name="T95" fmla="*/ 583 h 661"/>
                <a:gd name="T96" fmla="*/ 60 w 345"/>
                <a:gd name="T97" fmla="*/ 563 h 661"/>
                <a:gd name="T98" fmla="*/ 52 w 345"/>
                <a:gd name="T99" fmla="*/ 561 h 661"/>
                <a:gd name="T100" fmla="*/ 46 w 345"/>
                <a:gd name="T101" fmla="*/ 583 h 661"/>
                <a:gd name="T102" fmla="*/ 46 w 345"/>
                <a:gd name="T103" fmla="*/ 589 h 661"/>
                <a:gd name="T104" fmla="*/ 40 w 345"/>
                <a:gd name="T105" fmla="*/ 575 h 661"/>
                <a:gd name="T106" fmla="*/ 34 w 345"/>
                <a:gd name="T107" fmla="*/ 577 h 661"/>
                <a:gd name="T108" fmla="*/ 30 w 345"/>
                <a:gd name="T109" fmla="*/ 597 h 661"/>
                <a:gd name="T110" fmla="*/ 24 w 345"/>
                <a:gd name="T111" fmla="*/ 599 h 661"/>
                <a:gd name="T112" fmla="*/ 20 w 345"/>
                <a:gd name="T113" fmla="*/ 595 h 661"/>
                <a:gd name="T114" fmla="*/ 16 w 345"/>
                <a:gd name="T115" fmla="*/ 599 h 661"/>
                <a:gd name="T116" fmla="*/ 8 w 345"/>
                <a:gd name="T117" fmla="*/ 639 h 661"/>
                <a:gd name="T118" fmla="*/ 345 w 345"/>
                <a:gd name="T119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5" h="661">
                  <a:moveTo>
                    <a:pt x="337" y="639"/>
                  </a:moveTo>
                  <a:lnTo>
                    <a:pt x="337" y="639"/>
                  </a:lnTo>
                  <a:lnTo>
                    <a:pt x="335" y="619"/>
                  </a:lnTo>
                  <a:lnTo>
                    <a:pt x="329" y="599"/>
                  </a:lnTo>
                  <a:lnTo>
                    <a:pt x="329" y="599"/>
                  </a:lnTo>
                  <a:lnTo>
                    <a:pt x="329" y="597"/>
                  </a:lnTo>
                  <a:lnTo>
                    <a:pt x="325" y="595"/>
                  </a:lnTo>
                  <a:lnTo>
                    <a:pt x="323" y="597"/>
                  </a:lnTo>
                  <a:lnTo>
                    <a:pt x="321" y="599"/>
                  </a:lnTo>
                  <a:lnTo>
                    <a:pt x="321" y="599"/>
                  </a:lnTo>
                  <a:lnTo>
                    <a:pt x="319" y="609"/>
                  </a:lnTo>
                  <a:lnTo>
                    <a:pt x="319" y="609"/>
                  </a:lnTo>
                  <a:lnTo>
                    <a:pt x="317" y="593"/>
                  </a:lnTo>
                  <a:lnTo>
                    <a:pt x="313" y="577"/>
                  </a:lnTo>
                  <a:lnTo>
                    <a:pt x="313" y="577"/>
                  </a:lnTo>
                  <a:lnTo>
                    <a:pt x="311" y="575"/>
                  </a:lnTo>
                  <a:lnTo>
                    <a:pt x="309" y="575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5" y="577"/>
                  </a:lnTo>
                  <a:lnTo>
                    <a:pt x="303" y="583"/>
                  </a:lnTo>
                  <a:lnTo>
                    <a:pt x="303" y="583"/>
                  </a:lnTo>
                  <a:lnTo>
                    <a:pt x="297" y="563"/>
                  </a:lnTo>
                  <a:lnTo>
                    <a:pt x="297" y="563"/>
                  </a:lnTo>
                  <a:lnTo>
                    <a:pt x="295" y="561"/>
                  </a:lnTo>
                  <a:lnTo>
                    <a:pt x="293" y="561"/>
                  </a:lnTo>
                  <a:lnTo>
                    <a:pt x="291" y="561"/>
                  </a:lnTo>
                  <a:lnTo>
                    <a:pt x="289" y="563"/>
                  </a:lnTo>
                  <a:lnTo>
                    <a:pt x="289" y="563"/>
                  </a:lnTo>
                  <a:lnTo>
                    <a:pt x="285" y="583"/>
                  </a:lnTo>
                  <a:lnTo>
                    <a:pt x="235" y="583"/>
                  </a:lnTo>
                  <a:lnTo>
                    <a:pt x="223" y="232"/>
                  </a:lnTo>
                  <a:lnTo>
                    <a:pt x="217" y="232"/>
                  </a:lnTo>
                  <a:lnTo>
                    <a:pt x="217" y="214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1" y="186"/>
                  </a:lnTo>
                  <a:lnTo>
                    <a:pt x="209" y="160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01" y="108"/>
                  </a:lnTo>
                  <a:lnTo>
                    <a:pt x="197" y="96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5" y="86"/>
                  </a:lnTo>
                  <a:lnTo>
                    <a:pt x="195" y="84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223" y="66"/>
                  </a:lnTo>
                  <a:lnTo>
                    <a:pt x="247" y="60"/>
                  </a:lnTo>
                  <a:lnTo>
                    <a:pt x="255" y="56"/>
                  </a:lnTo>
                  <a:lnTo>
                    <a:pt x="263" y="52"/>
                  </a:lnTo>
                  <a:lnTo>
                    <a:pt x="263" y="52"/>
                  </a:lnTo>
                  <a:lnTo>
                    <a:pt x="269" y="54"/>
                  </a:lnTo>
                  <a:lnTo>
                    <a:pt x="275" y="54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93" y="50"/>
                  </a:lnTo>
                  <a:lnTo>
                    <a:pt x="293" y="50"/>
                  </a:lnTo>
                  <a:lnTo>
                    <a:pt x="293" y="48"/>
                  </a:lnTo>
                  <a:lnTo>
                    <a:pt x="293" y="44"/>
                  </a:lnTo>
                  <a:lnTo>
                    <a:pt x="291" y="42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1" y="36"/>
                  </a:lnTo>
                  <a:lnTo>
                    <a:pt x="279" y="36"/>
                  </a:lnTo>
                  <a:lnTo>
                    <a:pt x="273" y="38"/>
                  </a:lnTo>
                  <a:lnTo>
                    <a:pt x="273" y="38"/>
                  </a:lnTo>
                  <a:lnTo>
                    <a:pt x="263" y="40"/>
                  </a:lnTo>
                  <a:lnTo>
                    <a:pt x="263" y="40"/>
                  </a:lnTo>
                  <a:lnTo>
                    <a:pt x="241" y="42"/>
                  </a:lnTo>
                  <a:lnTo>
                    <a:pt x="225" y="44"/>
                  </a:lnTo>
                  <a:lnTo>
                    <a:pt x="215" y="42"/>
                  </a:lnTo>
                  <a:lnTo>
                    <a:pt x="215" y="42"/>
                  </a:lnTo>
                  <a:lnTo>
                    <a:pt x="211" y="38"/>
                  </a:lnTo>
                  <a:lnTo>
                    <a:pt x="207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12"/>
                  </a:lnTo>
                  <a:lnTo>
                    <a:pt x="187" y="6"/>
                  </a:lnTo>
                  <a:lnTo>
                    <a:pt x="181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68" y="0"/>
                  </a:lnTo>
                  <a:lnTo>
                    <a:pt x="164" y="2"/>
                  </a:lnTo>
                  <a:lnTo>
                    <a:pt x="158" y="8"/>
                  </a:lnTo>
                  <a:lnTo>
                    <a:pt x="156" y="1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0" y="36"/>
                  </a:lnTo>
                  <a:lnTo>
                    <a:pt x="136" y="38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22" y="44"/>
                  </a:lnTo>
                  <a:lnTo>
                    <a:pt x="106" y="42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56" y="42"/>
                  </a:lnTo>
                  <a:lnTo>
                    <a:pt x="54" y="44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90" y="56"/>
                  </a:lnTo>
                  <a:lnTo>
                    <a:pt x="100" y="60"/>
                  </a:lnTo>
                  <a:lnTo>
                    <a:pt x="122" y="6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2" y="82"/>
                  </a:lnTo>
                  <a:lnTo>
                    <a:pt x="152" y="84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48" y="94"/>
                  </a:lnTo>
                  <a:lnTo>
                    <a:pt x="144" y="10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6" y="156"/>
                  </a:lnTo>
                  <a:lnTo>
                    <a:pt x="136" y="184"/>
                  </a:lnTo>
                  <a:lnTo>
                    <a:pt x="136" y="214"/>
                  </a:lnTo>
                  <a:lnTo>
                    <a:pt x="130" y="214"/>
                  </a:lnTo>
                  <a:lnTo>
                    <a:pt x="130" y="232"/>
                  </a:lnTo>
                  <a:lnTo>
                    <a:pt x="120" y="232"/>
                  </a:lnTo>
                  <a:lnTo>
                    <a:pt x="114" y="583"/>
                  </a:lnTo>
                  <a:lnTo>
                    <a:pt x="64" y="583"/>
                  </a:lnTo>
                  <a:lnTo>
                    <a:pt x="64" y="583"/>
                  </a:lnTo>
                  <a:lnTo>
                    <a:pt x="60" y="563"/>
                  </a:lnTo>
                  <a:lnTo>
                    <a:pt x="60" y="563"/>
                  </a:lnTo>
                  <a:lnTo>
                    <a:pt x="58" y="561"/>
                  </a:lnTo>
                  <a:lnTo>
                    <a:pt x="56" y="561"/>
                  </a:lnTo>
                  <a:lnTo>
                    <a:pt x="52" y="561"/>
                  </a:lnTo>
                  <a:lnTo>
                    <a:pt x="52" y="563"/>
                  </a:lnTo>
                  <a:lnTo>
                    <a:pt x="52" y="563"/>
                  </a:lnTo>
                  <a:lnTo>
                    <a:pt x="46" y="583"/>
                  </a:lnTo>
                  <a:lnTo>
                    <a:pt x="46" y="583"/>
                  </a:lnTo>
                  <a:lnTo>
                    <a:pt x="46" y="589"/>
                  </a:lnTo>
                  <a:lnTo>
                    <a:pt x="46" y="589"/>
                  </a:lnTo>
                  <a:lnTo>
                    <a:pt x="42" y="577"/>
                  </a:lnTo>
                  <a:lnTo>
                    <a:pt x="42" y="577"/>
                  </a:lnTo>
                  <a:lnTo>
                    <a:pt x="40" y="575"/>
                  </a:lnTo>
                  <a:lnTo>
                    <a:pt x="38" y="575"/>
                  </a:lnTo>
                  <a:lnTo>
                    <a:pt x="36" y="575"/>
                  </a:lnTo>
                  <a:lnTo>
                    <a:pt x="34" y="577"/>
                  </a:lnTo>
                  <a:lnTo>
                    <a:pt x="34" y="577"/>
                  </a:lnTo>
                  <a:lnTo>
                    <a:pt x="30" y="597"/>
                  </a:lnTo>
                  <a:lnTo>
                    <a:pt x="30" y="597"/>
                  </a:lnTo>
                  <a:lnTo>
                    <a:pt x="28" y="609"/>
                  </a:lnTo>
                  <a:lnTo>
                    <a:pt x="28" y="609"/>
                  </a:lnTo>
                  <a:lnTo>
                    <a:pt x="24" y="599"/>
                  </a:lnTo>
                  <a:lnTo>
                    <a:pt x="24" y="599"/>
                  </a:lnTo>
                  <a:lnTo>
                    <a:pt x="24" y="597"/>
                  </a:lnTo>
                  <a:lnTo>
                    <a:pt x="20" y="595"/>
                  </a:lnTo>
                  <a:lnTo>
                    <a:pt x="18" y="597"/>
                  </a:lnTo>
                  <a:lnTo>
                    <a:pt x="16" y="599"/>
                  </a:lnTo>
                  <a:lnTo>
                    <a:pt x="16" y="599"/>
                  </a:lnTo>
                  <a:lnTo>
                    <a:pt x="12" y="619"/>
                  </a:lnTo>
                  <a:lnTo>
                    <a:pt x="12" y="619"/>
                  </a:lnTo>
                  <a:lnTo>
                    <a:pt x="8" y="639"/>
                  </a:lnTo>
                  <a:lnTo>
                    <a:pt x="0" y="639"/>
                  </a:lnTo>
                  <a:lnTo>
                    <a:pt x="0" y="661"/>
                  </a:lnTo>
                  <a:lnTo>
                    <a:pt x="345" y="661"/>
                  </a:lnTo>
                  <a:lnTo>
                    <a:pt x="345" y="639"/>
                  </a:lnTo>
                  <a:lnTo>
                    <a:pt x="337" y="639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91"/>
            <p:cNvSpPr>
              <a:spLocks/>
            </p:cNvSpPr>
            <p:nvPr/>
          </p:nvSpPr>
          <p:spPr bwMode="auto">
            <a:xfrm>
              <a:off x="5711348" y="6123644"/>
              <a:ext cx="1283569" cy="610127"/>
            </a:xfrm>
            <a:custGeom>
              <a:avLst/>
              <a:gdLst>
                <a:gd name="T0" fmla="*/ 42 w 892"/>
                <a:gd name="T1" fmla="*/ 424 h 424"/>
                <a:gd name="T2" fmla="*/ 40 w 892"/>
                <a:gd name="T3" fmla="*/ 424 h 424"/>
                <a:gd name="T4" fmla="*/ 6 w 892"/>
                <a:gd name="T5" fmla="*/ 400 h 424"/>
                <a:gd name="T6" fmla="*/ 2 w 892"/>
                <a:gd name="T7" fmla="*/ 394 h 424"/>
                <a:gd name="T8" fmla="*/ 0 w 892"/>
                <a:gd name="T9" fmla="*/ 386 h 424"/>
                <a:gd name="T10" fmla="*/ 2 w 892"/>
                <a:gd name="T11" fmla="*/ 382 h 424"/>
                <a:gd name="T12" fmla="*/ 8 w 892"/>
                <a:gd name="T13" fmla="*/ 376 h 424"/>
                <a:gd name="T14" fmla="*/ 14 w 892"/>
                <a:gd name="T15" fmla="*/ 376 h 424"/>
                <a:gd name="T16" fmla="*/ 86 w 892"/>
                <a:gd name="T17" fmla="*/ 360 h 424"/>
                <a:gd name="T18" fmla="*/ 110 w 892"/>
                <a:gd name="T19" fmla="*/ 356 h 424"/>
                <a:gd name="T20" fmla="*/ 136 w 892"/>
                <a:gd name="T21" fmla="*/ 350 h 424"/>
                <a:gd name="T22" fmla="*/ 182 w 892"/>
                <a:gd name="T23" fmla="*/ 334 h 424"/>
                <a:gd name="T24" fmla="*/ 242 w 892"/>
                <a:gd name="T25" fmla="*/ 304 h 424"/>
                <a:gd name="T26" fmla="*/ 310 w 892"/>
                <a:gd name="T27" fmla="*/ 254 h 424"/>
                <a:gd name="T28" fmla="*/ 364 w 892"/>
                <a:gd name="T29" fmla="*/ 198 h 424"/>
                <a:gd name="T30" fmla="*/ 404 w 892"/>
                <a:gd name="T31" fmla="*/ 142 h 424"/>
                <a:gd name="T32" fmla="*/ 432 w 892"/>
                <a:gd name="T33" fmla="*/ 94 h 424"/>
                <a:gd name="T34" fmla="*/ 454 w 892"/>
                <a:gd name="T35" fmla="*/ 40 h 424"/>
                <a:gd name="T36" fmla="*/ 458 w 892"/>
                <a:gd name="T37" fmla="*/ 28 h 424"/>
                <a:gd name="T38" fmla="*/ 462 w 892"/>
                <a:gd name="T39" fmla="*/ 26 h 424"/>
                <a:gd name="T40" fmla="*/ 476 w 892"/>
                <a:gd name="T41" fmla="*/ 22 h 424"/>
                <a:gd name="T42" fmla="*/ 506 w 892"/>
                <a:gd name="T43" fmla="*/ 10 h 424"/>
                <a:gd name="T44" fmla="*/ 522 w 892"/>
                <a:gd name="T45" fmla="*/ 0 h 424"/>
                <a:gd name="T46" fmla="*/ 522 w 892"/>
                <a:gd name="T47" fmla="*/ 0 h 424"/>
                <a:gd name="T48" fmla="*/ 530 w 892"/>
                <a:gd name="T49" fmla="*/ 2 h 424"/>
                <a:gd name="T50" fmla="*/ 532 w 892"/>
                <a:gd name="T51" fmla="*/ 6 h 424"/>
                <a:gd name="T52" fmla="*/ 532 w 892"/>
                <a:gd name="T53" fmla="*/ 10 h 424"/>
                <a:gd name="T54" fmla="*/ 432 w 892"/>
                <a:gd name="T55" fmla="*/ 198 h 424"/>
                <a:gd name="T56" fmla="*/ 396 w 892"/>
                <a:gd name="T57" fmla="*/ 282 h 424"/>
                <a:gd name="T58" fmla="*/ 366 w 892"/>
                <a:gd name="T59" fmla="*/ 362 h 424"/>
                <a:gd name="T60" fmla="*/ 888 w 892"/>
                <a:gd name="T61" fmla="*/ 392 h 424"/>
                <a:gd name="T62" fmla="*/ 892 w 892"/>
                <a:gd name="T63" fmla="*/ 396 h 424"/>
                <a:gd name="T64" fmla="*/ 892 w 892"/>
                <a:gd name="T65" fmla="*/ 420 h 424"/>
                <a:gd name="T66" fmla="*/ 888 w 892"/>
                <a:gd name="T6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2" h="424">
                  <a:moveTo>
                    <a:pt x="888" y="424"/>
                  </a:moveTo>
                  <a:lnTo>
                    <a:pt x="42" y="424"/>
                  </a:lnTo>
                  <a:lnTo>
                    <a:pt x="42" y="424"/>
                  </a:lnTo>
                  <a:lnTo>
                    <a:pt x="40" y="424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4" y="398"/>
                  </a:lnTo>
                  <a:lnTo>
                    <a:pt x="2" y="394"/>
                  </a:lnTo>
                  <a:lnTo>
                    <a:pt x="0" y="39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82"/>
                  </a:lnTo>
                  <a:lnTo>
                    <a:pt x="6" y="378"/>
                  </a:lnTo>
                  <a:lnTo>
                    <a:pt x="8" y="376"/>
                  </a:lnTo>
                  <a:lnTo>
                    <a:pt x="14" y="376"/>
                  </a:lnTo>
                  <a:lnTo>
                    <a:pt x="14" y="376"/>
                  </a:lnTo>
                  <a:lnTo>
                    <a:pt x="44" y="37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110" y="356"/>
                  </a:lnTo>
                  <a:lnTo>
                    <a:pt x="110" y="356"/>
                  </a:lnTo>
                  <a:lnTo>
                    <a:pt x="136" y="350"/>
                  </a:lnTo>
                  <a:lnTo>
                    <a:pt x="158" y="342"/>
                  </a:lnTo>
                  <a:lnTo>
                    <a:pt x="182" y="334"/>
                  </a:lnTo>
                  <a:lnTo>
                    <a:pt x="204" y="324"/>
                  </a:lnTo>
                  <a:lnTo>
                    <a:pt x="242" y="304"/>
                  </a:lnTo>
                  <a:lnTo>
                    <a:pt x="278" y="280"/>
                  </a:lnTo>
                  <a:lnTo>
                    <a:pt x="310" y="254"/>
                  </a:lnTo>
                  <a:lnTo>
                    <a:pt x="340" y="226"/>
                  </a:lnTo>
                  <a:lnTo>
                    <a:pt x="364" y="198"/>
                  </a:lnTo>
                  <a:lnTo>
                    <a:pt x="386" y="170"/>
                  </a:lnTo>
                  <a:lnTo>
                    <a:pt x="404" y="142"/>
                  </a:lnTo>
                  <a:lnTo>
                    <a:pt x="420" y="116"/>
                  </a:lnTo>
                  <a:lnTo>
                    <a:pt x="432" y="94"/>
                  </a:lnTo>
                  <a:lnTo>
                    <a:pt x="442" y="72"/>
                  </a:lnTo>
                  <a:lnTo>
                    <a:pt x="454" y="40"/>
                  </a:lnTo>
                  <a:lnTo>
                    <a:pt x="458" y="28"/>
                  </a:lnTo>
                  <a:lnTo>
                    <a:pt x="458" y="28"/>
                  </a:lnTo>
                  <a:lnTo>
                    <a:pt x="460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76" y="22"/>
                  </a:lnTo>
                  <a:lnTo>
                    <a:pt x="492" y="18"/>
                  </a:lnTo>
                  <a:lnTo>
                    <a:pt x="506" y="1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6" y="0"/>
                  </a:lnTo>
                  <a:lnTo>
                    <a:pt x="530" y="2"/>
                  </a:lnTo>
                  <a:lnTo>
                    <a:pt x="530" y="2"/>
                  </a:lnTo>
                  <a:lnTo>
                    <a:pt x="532" y="6"/>
                  </a:lnTo>
                  <a:lnTo>
                    <a:pt x="532" y="10"/>
                  </a:lnTo>
                  <a:lnTo>
                    <a:pt x="532" y="10"/>
                  </a:lnTo>
                  <a:lnTo>
                    <a:pt x="478" y="108"/>
                  </a:lnTo>
                  <a:lnTo>
                    <a:pt x="432" y="198"/>
                  </a:lnTo>
                  <a:lnTo>
                    <a:pt x="414" y="240"/>
                  </a:lnTo>
                  <a:lnTo>
                    <a:pt x="396" y="282"/>
                  </a:lnTo>
                  <a:lnTo>
                    <a:pt x="380" y="322"/>
                  </a:lnTo>
                  <a:lnTo>
                    <a:pt x="366" y="362"/>
                  </a:lnTo>
                  <a:lnTo>
                    <a:pt x="888" y="392"/>
                  </a:lnTo>
                  <a:lnTo>
                    <a:pt x="888" y="392"/>
                  </a:lnTo>
                  <a:lnTo>
                    <a:pt x="890" y="392"/>
                  </a:lnTo>
                  <a:lnTo>
                    <a:pt x="892" y="396"/>
                  </a:lnTo>
                  <a:lnTo>
                    <a:pt x="892" y="420"/>
                  </a:lnTo>
                  <a:lnTo>
                    <a:pt x="892" y="420"/>
                  </a:lnTo>
                  <a:lnTo>
                    <a:pt x="890" y="424"/>
                  </a:lnTo>
                  <a:lnTo>
                    <a:pt x="888" y="424"/>
                  </a:lnTo>
                  <a:lnTo>
                    <a:pt x="888" y="424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95"/>
            <p:cNvSpPr>
              <a:spLocks/>
            </p:cNvSpPr>
            <p:nvPr/>
          </p:nvSpPr>
          <p:spPr bwMode="auto">
            <a:xfrm>
              <a:off x="2520797" y="6349061"/>
              <a:ext cx="2101850" cy="528637"/>
            </a:xfrm>
            <a:custGeom>
              <a:avLst/>
              <a:gdLst>
                <a:gd name="T0" fmla="*/ 1324 w 1324"/>
                <a:gd name="T1" fmla="*/ 195 h 333"/>
                <a:gd name="T2" fmla="*/ 1016 w 1324"/>
                <a:gd name="T3" fmla="*/ 195 h 333"/>
                <a:gd name="T4" fmla="*/ 1016 w 1324"/>
                <a:gd name="T5" fmla="*/ 0 h 333"/>
                <a:gd name="T6" fmla="*/ 980 w 1324"/>
                <a:gd name="T7" fmla="*/ 0 h 333"/>
                <a:gd name="T8" fmla="*/ 980 w 1324"/>
                <a:gd name="T9" fmla="*/ 195 h 333"/>
                <a:gd name="T10" fmla="*/ 362 w 1324"/>
                <a:gd name="T11" fmla="*/ 195 h 333"/>
                <a:gd name="T12" fmla="*/ 362 w 1324"/>
                <a:gd name="T13" fmla="*/ 0 h 333"/>
                <a:gd name="T14" fmla="*/ 328 w 1324"/>
                <a:gd name="T15" fmla="*/ 0 h 333"/>
                <a:gd name="T16" fmla="*/ 328 w 1324"/>
                <a:gd name="T17" fmla="*/ 195 h 333"/>
                <a:gd name="T18" fmla="*/ 0 w 1324"/>
                <a:gd name="T19" fmla="*/ 195 h 333"/>
                <a:gd name="T20" fmla="*/ 0 w 1324"/>
                <a:gd name="T21" fmla="*/ 219 h 333"/>
                <a:gd name="T22" fmla="*/ 328 w 1324"/>
                <a:gd name="T23" fmla="*/ 219 h 333"/>
                <a:gd name="T24" fmla="*/ 328 w 1324"/>
                <a:gd name="T25" fmla="*/ 333 h 333"/>
                <a:gd name="T26" fmla="*/ 362 w 1324"/>
                <a:gd name="T27" fmla="*/ 333 h 333"/>
                <a:gd name="T28" fmla="*/ 362 w 1324"/>
                <a:gd name="T29" fmla="*/ 219 h 333"/>
                <a:gd name="T30" fmla="*/ 980 w 1324"/>
                <a:gd name="T31" fmla="*/ 219 h 333"/>
                <a:gd name="T32" fmla="*/ 980 w 1324"/>
                <a:gd name="T33" fmla="*/ 333 h 333"/>
                <a:gd name="T34" fmla="*/ 1016 w 1324"/>
                <a:gd name="T35" fmla="*/ 333 h 333"/>
                <a:gd name="T36" fmla="*/ 1016 w 1324"/>
                <a:gd name="T37" fmla="*/ 219 h 333"/>
                <a:gd name="T38" fmla="*/ 1324 w 1324"/>
                <a:gd name="T39" fmla="*/ 219 h 333"/>
                <a:gd name="T40" fmla="*/ 1324 w 1324"/>
                <a:gd name="T41" fmla="*/ 195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4" h="333">
                  <a:moveTo>
                    <a:pt x="1324" y="195"/>
                  </a:moveTo>
                  <a:lnTo>
                    <a:pt x="1016" y="195"/>
                  </a:lnTo>
                  <a:lnTo>
                    <a:pt x="1016" y="0"/>
                  </a:lnTo>
                  <a:lnTo>
                    <a:pt x="980" y="0"/>
                  </a:lnTo>
                  <a:lnTo>
                    <a:pt x="980" y="195"/>
                  </a:lnTo>
                  <a:lnTo>
                    <a:pt x="362" y="195"/>
                  </a:lnTo>
                  <a:lnTo>
                    <a:pt x="362" y="0"/>
                  </a:lnTo>
                  <a:lnTo>
                    <a:pt x="328" y="0"/>
                  </a:lnTo>
                  <a:lnTo>
                    <a:pt x="328" y="195"/>
                  </a:lnTo>
                  <a:lnTo>
                    <a:pt x="0" y="195"/>
                  </a:lnTo>
                  <a:lnTo>
                    <a:pt x="0" y="219"/>
                  </a:lnTo>
                  <a:lnTo>
                    <a:pt x="328" y="219"/>
                  </a:lnTo>
                  <a:lnTo>
                    <a:pt x="328" y="333"/>
                  </a:lnTo>
                  <a:lnTo>
                    <a:pt x="362" y="333"/>
                  </a:lnTo>
                  <a:lnTo>
                    <a:pt x="362" y="219"/>
                  </a:lnTo>
                  <a:lnTo>
                    <a:pt x="980" y="219"/>
                  </a:lnTo>
                  <a:lnTo>
                    <a:pt x="980" y="333"/>
                  </a:lnTo>
                  <a:lnTo>
                    <a:pt x="1016" y="333"/>
                  </a:lnTo>
                  <a:lnTo>
                    <a:pt x="1016" y="219"/>
                  </a:lnTo>
                  <a:lnTo>
                    <a:pt x="1324" y="219"/>
                  </a:lnTo>
                  <a:lnTo>
                    <a:pt x="1324" y="1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6"/>
            <p:cNvSpPr>
              <a:spLocks/>
            </p:cNvSpPr>
            <p:nvPr/>
          </p:nvSpPr>
          <p:spPr bwMode="auto">
            <a:xfrm>
              <a:off x="2616047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8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8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97"/>
            <p:cNvSpPr>
              <a:spLocks/>
            </p:cNvSpPr>
            <p:nvPr/>
          </p:nvSpPr>
          <p:spPr bwMode="auto">
            <a:xfrm>
              <a:off x="3066897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8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6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8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8"/>
            <p:cNvSpPr>
              <a:spLocks/>
            </p:cNvSpPr>
            <p:nvPr/>
          </p:nvSpPr>
          <p:spPr bwMode="auto">
            <a:xfrm>
              <a:off x="3654272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6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6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99"/>
            <p:cNvSpPr>
              <a:spLocks/>
            </p:cNvSpPr>
            <p:nvPr/>
          </p:nvSpPr>
          <p:spPr bwMode="auto">
            <a:xfrm>
              <a:off x="4105122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6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4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6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4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03"/>
            <p:cNvSpPr>
              <a:spLocks/>
            </p:cNvSpPr>
            <p:nvPr/>
          </p:nvSpPr>
          <p:spPr bwMode="auto">
            <a:xfrm>
              <a:off x="7421035" y="6154433"/>
              <a:ext cx="1268412" cy="639763"/>
            </a:xfrm>
            <a:custGeom>
              <a:avLst/>
              <a:gdLst>
                <a:gd name="T0" fmla="*/ 769 w 799"/>
                <a:gd name="T1" fmla="*/ 182 h 403"/>
                <a:gd name="T2" fmla="*/ 737 w 799"/>
                <a:gd name="T3" fmla="*/ 182 h 403"/>
                <a:gd name="T4" fmla="*/ 696 w 799"/>
                <a:gd name="T5" fmla="*/ 243 h 403"/>
                <a:gd name="T6" fmla="*/ 719 w 799"/>
                <a:gd name="T7" fmla="*/ 250 h 403"/>
                <a:gd name="T8" fmla="*/ 681 w 799"/>
                <a:gd name="T9" fmla="*/ 261 h 403"/>
                <a:gd name="T10" fmla="*/ 639 w 799"/>
                <a:gd name="T11" fmla="*/ 240 h 403"/>
                <a:gd name="T12" fmla="*/ 606 w 799"/>
                <a:gd name="T13" fmla="*/ 213 h 403"/>
                <a:gd name="T14" fmla="*/ 577 w 799"/>
                <a:gd name="T15" fmla="*/ 185 h 403"/>
                <a:gd name="T16" fmla="*/ 517 w 799"/>
                <a:gd name="T17" fmla="*/ 149 h 403"/>
                <a:gd name="T18" fmla="*/ 437 w 799"/>
                <a:gd name="T19" fmla="*/ 129 h 403"/>
                <a:gd name="T20" fmla="*/ 452 w 799"/>
                <a:gd name="T21" fmla="*/ 99 h 403"/>
                <a:gd name="T22" fmla="*/ 456 w 799"/>
                <a:gd name="T23" fmla="*/ 91 h 403"/>
                <a:gd name="T24" fmla="*/ 460 w 799"/>
                <a:gd name="T25" fmla="*/ 88 h 403"/>
                <a:gd name="T26" fmla="*/ 459 w 799"/>
                <a:gd name="T27" fmla="*/ 79 h 403"/>
                <a:gd name="T28" fmla="*/ 444 w 799"/>
                <a:gd name="T29" fmla="*/ 79 h 403"/>
                <a:gd name="T30" fmla="*/ 422 w 799"/>
                <a:gd name="T31" fmla="*/ 71 h 403"/>
                <a:gd name="T32" fmla="*/ 411 w 799"/>
                <a:gd name="T33" fmla="*/ 53 h 403"/>
                <a:gd name="T34" fmla="*/ 410 w 799"/>
                <a:gd name="T35" fmla="*/ 47 h 403"/>
                <a:gd name="T36" fmla="*/ 404 w 799"/>
                <a:gd name="T37" fmla="*/ 43 h 403"/>
                <a:gd name="T38" fmla="*/ 403 w 799"/>
                <a:gd name="T39" fmla="*/ 12 h 403"/>
                <a:gd name="T40" fmla="*/ 406 w 799"/>
                <a:gd name="T41" fmla="*/ 9 h 403"/>
                <a:gd name="T42" fmla="*/ 407 w 799"/>
                <a:gd name="T43" fmla="*/ 3 h 403"/>
                <a:gd name="T44" fmla="*/ 403 w 799"/>
                <a:gd name="T45" fmla="*/ 0 h 403"/>
                <a:gd name="T46" fmla="*/ 399 w 799"/>
                <a:gd name="T47" fmla="*/ 0 h 403"/>
                <a:gd name="T48" fmla="*/ 395 w 799"/>
                <a:gd name="T49" fmla="*/ 7 h 403"/>
                <a:gd name="T50" fmla="*/ 397 w 799"/>
                <a:gd name="T51" fmla="*/ 11 h 403"/>
                <a:gd name="T52" fmla="*/ 400 w 799"/>
                <a:gd name="T53" fmla="*/ 43 h 403"/>
                <a:gd name="T54" fmla="*/ 393 w 799"/>
                <a:gd name="T55" fmla="*/ 49 h 403"/>
                <a:gd name="T56" fmla="*/ 392 w 799"/>
                <a:gd name="T57" fmla="*/ 71 h 403"/>
                <a:gd name="T58" fmla="*/ 377 w 799"/>
                <a:gd name="T59" fmla="*/ 71 h 403"/>
                <a:gd name="T60" fmla="*/ 351 w 799"/>
                <a:gd name="T61" fmla="*/ 79 h 403"/>
                <a:gd name="T62" fmla="*/ 340 w 799"/>
                <a:gd name="T63" fmla="*/ 79 h 403"/>
                <a:gd name="T64" fmla="*/ 339 w 799"/>
                <a:gd name="T65" fmla="*/ 88 h 403"/>
                <a:gd name="T66" fmla="*/ 343 w 799"/>
                <a:gd name="T67" fmla="*/ 91 h 403"/>
                <a:gd name="T68" fmla="*/ 351 w 799"/>
                <a:gd name="T69" fmla="*/ 110 h 403"/>
                <a:gd name="T70" fmla="*/ 365 w 799"/>
                <a:gd name="T71" fmla="*/ 129 h 403"/>
                <a:gd name="T72" fmla="*/ 308 w 799"/>
                <a:gd name="T73" fmla="*/ 140 h 403"/>
                <a:gd name="T74" fmla="*/ 240 w 799"/>
                <a:gd name="T75" fmla="*/ 172 h 403"/>
                <a:gd name="T76" fmla="*/ 191 w 799"/>
                <a:gd name="T77" fmla="*/ 213 h 403"/>
                <a:gd name="T78" fmla="*/ 170 w 799"/>
                <a:gd name="T79" fmla="*/ 232 h 403"/>
                <a:gd name="T80" fmla="*/ 121 w 799"/>
                <a:gd name="T81" fmla="*/ 261 h 403"/>
                <a:gd name="T82" fmla="*/ 92 w 799"/>
                <a:gd name="T83" fmla="*/ 250 h 403"/>
                <a:gd name="T84" fmla="*/ 103 w 799"/>
                <a:gd name="T85" fmla="*/ 231 h 403"/>
                <a:gd name="T86" fmla="*/ 73 w 799"/>
                <a:gd name="T87" fmla="*/ 182 h 403"/>
                <a:gd name="T88" fmla="*/ 41 w 799"/>
                <a:gd name="T89" fmla="*/ 182 h 403"/>
                <a:gd name="T90" fmla="*/ 0 w 799"/>
                <a:gd name="T91" fmla="*/ 243 h 403"/>
                <a:gd name="T92" fmla="*/ 19 w 799"/>
                <a:gd name="T93" fmla="*/ 250 h 403"/>
                <a:gd name="T94" fmla="*/ 784 w 799"/>
                <a:gd name="T95" fmla="*/ 250 h 403"/>
                <a:gd name="T96" fmla="*/ 799 w 799"/>
                <a:gd name="T97" fmla="*/ 24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99" h="403">
                  <a:moveTo>
                    <a:pt x="785" y="231"/>
                  </a:moveTo>
                  <a:lnTo>
                    <a:pt x="760" y="182"/>
                  </a:lnTo>
                  <a:lnTo>
                    <a:pt x="769" y="182"/>
                  </a:lnTo>
                  <a:lnTo>
                    <a:pt x="747" y="153"/>
                  </a:lnTo>
                  <a:lnTo>
                    <a:pt x="727" y="183"/>
                  </a:lnTo>
                  <a:lnTo>
                    <a:pt x="737" y="182"/>
                  </a:lnTo>
                  <a:lnTo>
                    <a:pt x="711" y="231"/>
                  </a:lnTo>
                  <a:lnTo>
                    <a:pt x="696" y="231"/>
                  </a:lnTo>
                  <a:lnTo>
                    <a:pt x="696" y="243"/>
                  </a:lnTo>
                  <a:lnTo>
                    <a:pt x="707" y="243"/>
                  </a:lnTo>
                  <a:lnTo>
                    <a:pt x="707" y="250"/>
                  </a:lnTo>
                  <a:lnTo>
                    <a:pt x="719" y="250"/>
                  </a:lnTo>
                  <a:lnTo>
                    <a:pt x="719" y="261"/>
                  </a:lnTo>
                  <a:lnTo>
                    <a:pt x="681" y="261"/>
                  </a:lnTo>
                  <a:lnTo>
                    <a:pt x="681" y="261"/>
                  </a:lnTo>
                  <a:lnTo>
                    <a:pt x="666" y="255"/>
                  </a:lnTo>
                  <a:lnTo>
                    <a:pt x="650" y="246"/>
                  </a:lnTo>
                  <a:lnTo>
                    <a:pt x="639" y="240"/>
                  </a:lnTo>
                  <a:lnTo>
                    <a:pt x="629" y="232"/>
                  </a:lnTo>
                  <a:lnTo>
                    <a:pt x="619" y="223"/>
                  </a:lnTo>
                  <a:lnTo>
                    <a:pt x="606" y="213"/>
                  </a:lnTo>
                  <a:lnTo>
                    <a:pt x="606" y="213"/>
                  </a:lnTo>
                  <a:lnTo>
                    <a:pt x="591" y="198"/>
                  </a:lnTo>
                  <a:lnTo>
                    <a:pt x="577" y="185"/>
                  </a:lnTo>
                  <a:lnTo>
                    <a:pt x="559" y="171"/>
                  </a:lnTo>
                  <a:lnTo>
                    <a:pt x="539" y="159"/>
                  </a:lnTo>
                  <a:lnTo>
                    <a:pt x="517" y="149"/>
                  </a:lnTo>
                  <a:lnTo>
                    <a:pt x="494" y="140"/>
                  </a:lnTo>
                  <a:lnTo>
                    <a:pt x="467" y="133"/>
                  </a:lnTo>
                  <a:lnTo>
                    <a:pt x="437" y="129"/>
                  </a:lnTo>
                  <a:lnTo>
                    <a:pt x="437" y="110"/>
                  </a:lnTo>
                  <a:lnTo>
                    <a:pt x="448" y="110"/>
                  </a:lnTo>
                  <a:lnTo>
                    <a:pt x="452" y="99"/>
                  </a:lnTo>
                  <a:lnTo>
                    <a:pt x="456" y="99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9" y="90"/>
                  </a:lnTo>
                  <a:lnTo>
                    <a:pt x="460" y="88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59" y="79"/>
                  </a:lnTo>
                  <a:lnTo>
                    <a:pt x="456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34" y="73"/>
                  </a:lnTo>
                  <a:lnTo>
                    <a:pt x="427" y="71"/>
                  </a:lnTo>
                  <a:lnTo>
                    <a:pt x="422" y="71"/>
                  </a:lnTo>
                  <a:lnTo>
                    <a:pt x="422" y="71"/>
                  </a:lnTo>
                  <a:lnTo>
                    <a:pt x="411" y="71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0"/>
                  </a:lnTo>
                  <a:lnTo>
                    <a:pt x="410" y="47"/>
                  </a:lnTo>
                  <a:lnTo>
                    <a:pt x="407" y="45"/>
                  </a:lnTo>
                  <a:lnTo>
                    <a:pt x="404" y="43"/>
                  </a:lnTo>
                  <a:lnTo>
                    <a:pt x="404" y="43"/>
                  </a:lnTo>
                  <a:lnTo>
                    <a:pt x="403" y="43"/>
                  </a:lnTo>
                  <a:lnTo>
                    <a:pt x="403" y="12"/>
                  </a:lnTo>
                  <a:lnTo>
                    <a:pt x="403" y="12"/>
                  </a:lnTo>
                  <a:lnTo>
                    <a:pt x="404" y="11"/>
                  </a:lnTo>
                  <a:lnTo>
                    <a:pt x="404" y="11"/>
                  </a:lnTo>
                  <a:lnTo>
                    <a:pt x="406" y="9"/>
                  </a:lnTo>
                  <a:lnTo>
                    <a:pt x="407" y="8"/>
                  </a:lnTo>
                  <a:lnTo>
                    <a:pt x="407" y="5"/>
                  </a:lnTo>
                  <a:lnTo>
                    <a:pt x="407" y="3"/>
                  </a:lnTo>
                  <a:lnTo>
                    <a:pt x="407" y="3"/>
                  </a:lnTo>
                  <a:lnTo>
                    <a:pt x="406" y="1"/>
                  </a:lnTo>
                  <a:lnTo>
                    <a:pt x="403" y="0"/>
                  </a:lnTo>
                  <a:lnTo>
                    <a:pt x="400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6" y="3"/>
                  </a:lnTo>
                  <a:lnTo>
                    <a:pt x="395" y="4"/>
                  </a:lnTo>
                  <a:lnTo>
                    <a:pt x="395" y="7"/>
                  </a:lnTo>
                  <a:lnTo>
                    <a:pt x="396" y="9"/>
                  </a:lnTo>
                  <a:lnTo>
                    <a:pt x="396" y="9"/>
                  </a:lnTo>
                  <a:lnTo>
                    <a:pt x="397" y="11"/>
                  </a:lnTo>
                  <a:lnTo>
                    <a:pt x="400" y="12"/>
                  </a:lnTo>
                  <a:lnTo>
                    <a:pt x="400" y="43"/>
                  </a:lnTo>
                  <a:lnTo>
                    <a:pt x="400" y="43"/>
                  </a:lnTo>
                  <a:lnTo>
                    <a:pt x="396" y="45"/>
                  </a:lnTo>
                  <a:lnTo>
                    <a:pt x="393" y="49"/>
                  </a:lnTo>
                  <a:lnTo>
                    <a:pt x="393" y="49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2" y="71"/>
                  </a:lnTo>
                  <a:lnTo>
                    <a:pt x="392" y="71"/>
                  </a:lnTo>
                  <a:lnTo>
                    <a:pt x="377" y="71"/>
                  </a:lnTo>
                  <a:lnTo>
                    <a:pt x="377" y="71"/>
                  </a:lnTo>
                  <a:lnTo>
                    <a:pt x="368" y="71"/>
                  </a:lnTo>
                  <a:lnTo>
                    <a:pt x="361" y="73"/>
                  </a:lnTo>
                  <a:lnTo>
                    <a:pt x="351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0" y="79"/>
                  </a:lnTo>
                  <a:lnTo>
                    <a:pt x="339" y="81"/>
                  </a:lnTo>
                  <a:lnTo>
                    <a:pt x="339" y="88"/>
                  </a:lnTo>
                  <a:lnTo>
                    <a:pt x="339" y="88"/>
                  </a:lnTo>
                  <a:lnTo>
                    <a:pt x="340" y="90"/>
                  </a:lnTo>
                  <a:lnTo>
                    <a:pt x="343" y="91"/>
                  </a:lnTo>
                  <a:lnTo>
                    <a:pt x="343" y="91"/>
                  </a:lnTo>
                  <a:lnTo>
                    <a:pt x="343" y="99"/>
                  </a:lnTo>
                  <a:lnTo>
                    <a:pt x="347" y="99"/>
                  </a:lnTo>
                  <a:lnTo>
                    <a:pt x="351" y="110"/>
                  </a:lnTo>
                  <a:lnTo>
                    <a:pt x="364" y="110"/>
                  </a:lnTo>
                  <a:lnTo>
                    <a:pt x="364" y="129"/>
                  </a:lnTo>
                  <a:lnTo>
                    <a:pt x="365" y="129"/>
                  </a:lnTo>
                  <a:lnTo>
                    <a:pt x="365" y="129"/>
                  </a:lnTo>
                  <a:lnTo>
                    <a:pt x="335" y="133"/>
                  </a:lnTo>
                  <a:lnTo>
                    <a:pt x="308" y="140"/>
                  </a:lnTo>
                  <a:lnTo>
                    <a:pt x="284" y="149"/>
                  </a:lnTo>
                  <a:lnTo>
                    <a:pt x="260" y="160"/>
                  </a:lnTo>
                  <a:lnTo>
                    <a:pt x="240" y="172"/>
                  </a:lnTo>
                  <a:lnTo>
                    <a:pt x="222" y="185"/>
                  </a:lnTo>
                  <a:lnTo>
                    <a:pt x="206" y="198"/>
                  </a:lnTo>
                  <a:lnTo>
                    <a:pt x="191" y="213"/>
                  </a:lnTo>
                  <a:lnTo>
                    <a:pt x="191" y="213"/>
                  </a:lnTo>
                  <a:lnTo>
                    <a:pt x="180" y="224"/>
                  </a:lnTo>
                  <a:lnTo>
                    <a:pt x="170" y="232"/>
                  </a:lnTo>
                  <a:lnTo>
                    <a:pt x="151" y="247"/>
                  </a:lnTo>
                  <a:lnTo>
                    <a:pt x="134" y="255"/>
                  </a:lnTo>
                  <a:lnTo>
                    <a:pt x="121" y="261"/>
                  </a:lnTo>
                  <a:lnTo>
                    <a:pt x="85" y="261"/>
                  </a:lnTo>
                  <a:lnTo>
                    <a:pt x="85" y="250"/>
                  </a:lnTo>
                  <a:lnTo>
                    <a:pt x="92" y="250"/>
                  </a:lnTo>
                  <a:lnTo>
                    <a:pt x="92" y="243"/>
                  </a:lnTo>
                  <a:lnTo>
                    <a:pt x="103" y="243"/>
                  </a:lnTo>
                  <a:lnTo>
                    <a:pt x="103" y="231"/>
                  </a:lnTo>
                  <a:lnTo>
                    <a:pt x="88" y="231"/>
                  </a:lnTo>
                  <a:lnTo>
                    <a:pt x="62" y="182"/>
                  </a:lnTo>
                  <a:lnTo>
                    <a:pt x="73" y="182"/>
                  </a:lnTo>
                  <a:lnTo>
                    <a:pt x="52" y="153"/>
                  </a:lnTo>
                  <a:lnTo>
                    <a:pt x="31" y="183"/>
                  </a:lnTo>
                  <a:lnTo>
                    <a:pt x="41" y="182"/>
                  </a:lnTo>
                  <a:lnTo>
                    <a:pt x="14" y="231"/>
                  </a:lnTo>
                  <a:lnTo>
                    <a:pt x="0" y="231"/>
                  </a:lnTo>
                  <a:lnTo>
                    <a:pt x="0" y="243"/>
                  </a:lnTo>
                  <a:lnTo>
                    <a:pt x="11" y="243"/>
                  </a:lnTo>
                  <a:lnTo>
                    <a:pt x="11" y="250"/>
                  </a:lnTo>
                  <a:lnTo>
                    <a:pt x="19" y="250"/>
                  </a:lnTo>
                  <a:lnTo>
                    <a:pt x="19" y="403"/>
                  </a:lnTo>
                  <a:lnTo>
                    <a:pt x="784" y="403"/>
                  </a:lnTo>
                  <a:lnTo>
                    <a:pt x="784" y="250"/>
                  </a:lnTo>
                  <a:lnTo>
                    <a:pt x="788" y="250"/>
                  </a:lnTo>
                  <a:lnTo>
                    <a:pt x="788" y="243"/>
                  </a:lnTo>
                  <a:lnTo>
                    <a:pt x="799" y="243"/>
                  </a:lnTo>
                  <a:lnTo>
                    <a:pt x="799" y="231"/>
                  </a:lnTo>
                  <a:lnTo>
                    <a:pt x="785" y="231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8"/>
            <p:cNvSpPr>
              <a:spLocks/>
            </p:cNvSpPr>
            <p:nvPr/>
          </p:nvSpPr>
          <p:spPr bwMode="auto">
            <a:xfrm>
              <a:off x="4731578" y="6210655"/>
              <a:ext cx="605993" cy="559017"/>
            </a:xfrm>
            <a:custGeom>
              <a:avLst/>
              <a:gdLst>
                <a:gd name="T0" fmla="*/ 486 w 516"/>
                <a:gd name="T1" fmla="*/ 372 h 476"/>
                <a:gd name="T2" fmla="*/ 486 w 516"/>
                <a:gd name="T3" fmla="*/ 330 h 476"/>
                <a:gd name="T4" fmla="*/ 486 w 516"/>
                <a:gd name="T5" fmla="*/ 228 h 476"/>
                <a:gd name="T6" fmla="*/ 486 w 516"/>
                <a:gd name="T7" fmla="*/ 172 h 476"/>
                <a:gd name="T8" fmla="*/ 486 w 516"/>
                <a:gd name="T9" fmla="*/ 172 h 476"/>
                <a:gd name="T10" fmla="*/ 486 w 516"/>
                <a:gd name="T11" fmla="*/ 170 h 476"/>
                <a:gd name="T12" fmla="*/ 484 w 516"/>
                <a:gd name="T13" fmla="*/ 168 h 476"/>
                <a:gd name="T14" fmla="*/ 482 w 516"/>
                <a:gd name="T15" fmla="*/ 168 h 476"/>
                <a:gd name="T16" fmla="*/ 478 w 516"/>
                <a:gd name="T17" fmla="*/ 168 h 476"/>
                <a:gd name="T18" fmla="*/ 418 w 516"/>
                <a:gd name="T19" fmla="*/ 226 h 476"/>
                <a:gd name="T20" fmla="*/ 410 w 516"/>
                <a:gd name="T21" fmla="*/ 68 h 476"/>
                <a:gd name="T22" fmla="*/ 370 w 516"/>
                <a:gd name="T23" fmla="*/ 68 h 476"/>
                <a:gd name="T24" fmla="*/ 366 w 516"/>
                <a:gd name="T25" fmla="*/ 172 h 476"/>
                <a:gd name="T26" fmla="*/ 304 w 516"/>
                <a:gd name="T27" fmla="*/ 228 h 476"/>
                <a:gd name="T28" fmla="*/ 304 w 516"/>
                <a:gd name="T29" fmla="*/ 228 h 476"/>
                <a:gd name="T30" fmla="*/ 298 w 516"/>
                <a:gd name="T31" fmla="*/ 0 h 476"/>
                <a:gd name="T32" fmla="*/ 266 w 516"/>
                <a:gd name="T33" fmla="*/ 0 h 476"/>
                <a:gd name="T34" fmla="*/ 262 w 516"/>
                <a:gd name="T35" fmla="*/ 168 h 476"/>
                <a:gd name="T36" fmla="*/ 262 w 516"/>
                <a:gd name="T37" fmla="*/ 168 h 476"/>
                <a:gd name="T38" fmla="*/ 260 w 516"/>
                <a:gd name="T39" fmla="*/ 168 h 476"/>
                <a:gd name="T40" fmla="*/ 258 w 516"/>
                <a:gd name="T41" fmla="*/ 168 h 476"/>
                <a:gd name="T42" fmla="*/ 194 w 516"/>
                <a:gd name="T43" fmla="*/ 228 h 476"/>
                <a:gd name="T44" fmla="*/ 146 w 516"/>
                <a:gd name="T45" fmla="*/ 228 h 476"/>
                <a:gd name="T46" fmla="*/ 138 w 516"/>
                <a:gd name="T47" fmla="*/ 42 h 476"/>
                <a:gd name="T48" fmla="*/ 92 w 516"/>
                <a:gd name="T49" fmla="*/ 42 h 476"/>
                <a:gd name="T50" fmla="*/ 84 w 516"/>
                <a:gd name="T51" fmla="*/ 228 h 476"/>
                <a:gd name="T52" fmla="*/ 28 w 516"/>
                <a:gd name="T53" fmla="*/ 228 h 476"/>
                <a:gd name="T54" fmla="*/ 28 w 516"/>
                <a:gd name="T55" fmla="*/ 312 h 476"/>
                <a:gd name="T56" fmla="*/ 0 w 516"/>
                <a:gd name="T57" fmla="*/ 312 h 476"/>
                <a:gd name="T58" fmla="*/ 0 w 516"/>
                <a:gd name="T59" fmla="*/ 476 h 476"/>
                <a:gd name="T60" fmla="*/ 104 w 516"/>
                <a:gd name="T61" fmla="*/ 476 h 476"/>
                <a:gd name="T62" fmla="*/ 162 w 516"/>
                <a:gd name="T63" fmla="*/ 476 h 476"/>
                <a:gd name="T64" fmla="*/ 516 w 516"/>
                <a:gd name="T65" fmla="*/ 476 h 476"/>
                <a:gd name="T66" fmla="*/ 516 w 516"/>
                <a:gd name="T67" fmla="*/ 372 h 476"/>
                <a:gd name="T68" fmla="*/ 486 w 516"/>
                <a:gd name="T69" fmla="*/ 372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6" h="476">
                  <a:moveTo>
                    <a:pt x="486" y="372"/>
                  </a:moveTo>
                  <a:lnTo>
                    <a:pt x="486" y="330"/>
                  </a:lnTo>
                  <a:lnTo>
                    <a:pt x="486" y="228"/>
                  </a:lnTo>
                  <a:lnTo>
                    <a:pt x="486" y="172"/>
                  </a:lnTo>
                  <a:lnTo>
                    <a:pt x="486" y="172"/>
                  </a:lnTo>
                  <a:lnTo>
                    <a:pt x="486" y="170"/>
                  </a:lnTo>
                  <a:lnTo>
                    <a:pt x="484" y="168"/>
                  </a:lnTo>
                  <a:lnTo>
                    <a:pt x="482" y="168"/>
                  </a:lnTo>
                  <a:lnTo>
                    <a:pt x="478" y="168"/>
                  </a:lnTo>
                  <a:lnTo>
                    <a:pt x="418" y="226"/>
                  </a:lnTo>
                  <a:lnTo>
                    <a:pt x="410" y="68"/>
                  </a:lnTo>
                  <a:lnTo>
                    <a:pt x="370" y="68"/>
                  </a:lnTo>
                  <a:lnTo>
                    <a:pt x="366" y="172"/>
                  </a:lnTo>
                  <a:lnTo>
                    <a:pt x="304" y="228"/>
                  </a:lnTo>
                  <a:lnTo>
                    <a:pt x="304" y="228"/>
                  </a:lnTo>
                  <a:lnTo>
                    <a:pt x="298" y="0"/>
                  </a:lnTo>
                  <a:lnTo>
                    <a:pt x="266" y="0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8" y="168"/>
                  </a:lnTo>
                  <a:lnTo>
                    <a:pt x="194" y="228"/>
                  </a:lnTo>
                  <a:lnTo>
                    <a:pt x="146" y="228"/>
                  </a:lnTo>
                  <a:lnTo>
                    <a:pt x="138" y="42"/>
                  </a:lnTo>
                  <a:lnTo>
                    <a:pt x="92" y="42"/>
                  </a:lnTo>
                  <a:lnTo>
                    <a:pt x="84" y="228"/>
                  </a:lnTo>
                  <a:lnTo>
                    <a:pt x="28" y="228"/>
                  </a:lnTo>
                  <a:lnTo>
                    <a:pt x="28" y="312"/>
                  </a:lnTo>
                  <a:lnTo>
                    <a:pt x="0" y="312"/>
                  </a:lnTo>
                  <a:lnTo>
                    <a:pt x="0" y="476"/>
                  </a:lnTo>
                  <a:lnTo>
                    <a:pt x="104" y="476"/>
                  </a:lnTo>
                  <a:lnTo>
                    <a:pt x="162" y="476"/>
                  </a:lnTo>
                  <a:lnTo>
                    <a:pt x="516" y="476"/>
                  </a:lnTo>
                  <a:lnTo>
                    <a:pt x="516" y="372"/>
                  </a:lnTo>
                  <a:lnTo>
                    <a:pt x="486" y="3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12"/>
            <p:cNvSpPr>
              <a:spLocks/>
            </p:cNvSpPr>
            <p:nvPr/>
          </p:nvSpPr>
          <p:spPr bwMode="auto">
            <a:xfrm>
              <a:off x="328613" y="5910911"/>
              <a:ext cx="663400" cy="921481"/>
            </a:xfrm>
            <a:custGeom>
              <a:avLst/>
              <a:gdLst>
                <a:gd name="T0" fmla="*/ 391 w 401"/>
                <a:gd name="T1" fmla="*/ 201 h 557"/>
                <a:gd name="T2" fmla="*/ 397 w 401"/>
                <a:gd name="T3" fmla="*/ 150 h 557"/>
                <a:gd name="T4" fmla="*/ 365 w 401"/>
                <a:gd name="T5" fmla="*/ 140 h 557"/>
                <a:gd name="T6" fmla="*/ 350 w 401"/>
                <a:gd name="T7" fmla="*/ 118 h 557"/>
                <a:gd name="T8" fmla="*/ 334 w 401"/>
                <a:gd name="T9" fmla="*/ 118 h 557"/>
                <a:gd name="T10" fmla="*/ 332 w 401"/>
                <a:gd name="T11" fmla="*/ 101 h 557"/>
                <a:gd name="T12" fmla="*/ 319 w 401"/>
                <a:gd name="T13" fmla="*/ 34 h 557"/>
                <a:gd name="T14" fmla="*/ 328 w 401"/>
                <a:gd name="T15" fmla="*/ 17 h 557"/>
                <a:gd name="T16" fmla="*/ 324 w 401"/>
                <a:gd name="T17" fmla="*/ 6 h 557"/>
                <a:gd name="T18" fmla="*/ 318 w 401"/>
                <a:gd name="T19" fmla="*/ 0 h 557"/>
                <a:gd name="T20" fmla="*/ 314 w 401"/>
                <a:gd name="T21" fmla="*/ 12 h 557"/>
                <a:gd name="T22" fmla="*/ 311 w 401"/>
                <a:gd name="T23" fmla="*/ 28 h 557"/>
                <a:gd name="T24" fmla="*/ 305 w 401"/>
                <a:gd name="T25" fmla="*/ 73 h 557"/>
                <a:gd name="T26" fmla="*/ 299 w 401"/>
                <a:gd name="T27" fmla="*/ 106 h 557"/>
                <a:gd name="T28" fmla="*/ 292 w 401"/>
                <a:gd name="T29" fmla="*/ 117 h 557"/>
                <a:gd name="T30" fmla="*/ 270 w 401"/>
                <a:gd name="T31" fmla="*/ 137 h 557"/>
                <a:gd name="T32" fmla="*/ 241 w 401"/>
                <a:gd name="T33" fmla="*/ 140 h 557"/>
                <a:gd name="T34" fmla="*/ 235 w 401"/>
                <a:gd name="T35" fmla="*/ 118 h 557"/>
                <a:gd name="T36" fmla="*/ 204 w 401"/>
                <a:gd name="T37" fmla="*/ 86 h 557"/>
                <a:gd name="T38" fmla="*/ 175 w 401"/>
                <a:gd name="T39" fmla="*/ 111 h 557"/>
                <a:gd name="T40" fmla="*/ 165 w 401"/>
                <a:gd name="T41" fmla="*/ 137 h 557"/>
                <a:gd name="T42" fmla="*/ 139 w 401"/>
                <a:gd name="T43" fmla="*/ 140 h 557"/>
                <a:gd name="T44" fmla="*/ 128 w 401"/>
                <a:gd name="T45" fmla="*/ 122 h 557"/>
                <a:gd name="T46" fmla="*/ 105 w 401"/>
                <a:gd name="T47" fmla="*/ 118 h 557"/>
                <a:gd name="T48" fmla="*/ 104 w 401"/>
                <a:gd name="T49" fmla="*/ 101 h 557"/>
                <a:gd name="T50" fmla="*/ 96 w 401"/>
                <a:gd name="T51" fmla="*/ 54 h 557"/>
                <a:gd name="T52" fmla="*/ 99 w 401"/>
                <a:gd name="T53" fmla="*/ 20 h 557"/>
                <a:gd name="T54" fmla="*/ 95 w 401"/>
                <a:gd name="T55" fmla="*/ 6 h 557"/>
                <a:gd name="T56" fmla="*/ 89 w 401"/>
                <a:gd name="T57" fmla="*/ 0 h 557"/>
                <a:gd name="T58" fmla="*/ 83 w 401"/>
                <a:gd name="T59" fmla="*/ 6 h 557"/>
                <a:gd name="T60" fmla="*/ 82 w 401"/>
                <a:gd name="T61" fmla="*/ 23 h 557"/>
                <a:gd name="T62" fmla="*/ 79 w 401"/>
                <a:gd name="T63" fmla="*/ 54 h 557"/>
                <a:gd name="T64" fmla="*/ 71 w 401"/>
                <a:gd name="T65" fmla="*/ 101 h 557"/>
                <a:gd name="T66" fmla="*/ 70 w 401"/>
                <a:gd name="T67" fmla="*/ 118 h 557"/>
                <a:gd name="T68" fmla="*/ 48 w 401"/>
                <a:gd name="T69" fmla="*/ 124 h 557"/>
                <a:gd name="T70" fmla="*/ 0 w 401"/>
                <a:gd name="T71" fmla="*/ 140 h 557"/>
                <a:gd name="T72" fmla="*/ 6 w 401"/>
                <a:gd name="T73" fmla="*/ 200 h 557"/>
                <a:gd name="T74" fmla="*/ 13 w 401"/>
                <a:gd name="T75" fmla="*/ 203 h 557"/>
                <a:gd name="T76" fmla="*/ 16 w 401"/>
                <a:gd name="T77" fmla="*/ 268 h 557"/>
                <a:gd name="T78" fmla="*/ 4 w 401"/>
                <a:gd name="T79" fmla="*/ 271 h 557"/>
                <a:gd name="T80" fmla="*/ 12 w 401"/>
                <a:gd name="T81" fmla="*/ 286 h 557"/>
                <a:gd name="T82" fmla="*/ 10 w 401"/>
                <a:gd name="T83" fmla="*/ 470 h 557"/>
                <a:gd name="T84" fmla="*/ 10 w 401"/>
                <a:gd name="T85" fmla="*/ 557 h 557"/>
                <a:gd name="T86" fmla="*/ 136 w 401"/>
                <a:gd name="T87" fmla="*/ 474 h 557"/>
                <a:gd name="T88" fmla="*/ 128 w 401"/>
                <a:gd name="T89" fmla="*/ 328 h 557"/>
                <a:gd name="T90" fmla="*/ 139 w 401"/>
                <a:gd name="T91" fmla="*/ 284 h 557"/>
                <a:gd name="T92" fmla="*/ 168 w 401"/>
                <a:gd name="T93" fmla="*/ 258 h 557"/>
                <a:gd name="T94" fmla="*/ 211 w 401"/>
                <a:gd name="T95" fmla="*/ 252 h 557"/>
                <a:gd name="T96" fmla="*/ 255 w 401"/>
                <a:gd name="T97" fmla="*/ 271 h 557"/>
                <a:gd name="T98" fmla="*/ 279 w 401"/>
                <a:gd name="T99" fmla="*/ 319 h 557"/>
                <a:gd name="T100" fmla="*/ 271 w 401"/>
                <a:gd name="T101" fmla="*/ 474 h 557"/>
                <a:gd name="T102" fmla="*/ 392 w 401"/>
                <a:gd name="T103" fmla="*/ 557 h 557"/>
                <a:gd name="T104" fmla="*/ 391 w 401"/>
                <a:gd name="T105" fmla="*/ 470 h 557"/>
                <a:gd name="T106" fmla="*/ 389 w 401"/>
                <a:gd name="T107" fmla="*/ 286 h 557"/>
                <a:gd name="T108" fmla="*/ 398 w 401"/>
                <a:gd name="T109" fmla="*/ 271 h 557"/>
                <a:gd name="T110" fmla="*/ 388 w 401"/>
                <a:gd name="T111" fmla="*/ 27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1" h="557">
                  <a:moveTo>
                    <a:pt x="388" y="220"/>
                  </a:moveTo>
                  <a:lnTo>
                    <a:pt x="388" y="203"/>
                  </a:lnTo>
                  <a:lnTo>
                    <a:pt x="388" y="203"/>
                  </a:lnTo>
                  <a:lnTo>
                    <a:pt x="389" y="201"/>
                  </a:lnTo>
                  <a:lnTo>
                    <a:pt x="391" y="201"/>
                  </a:lnTo>
                  <a:lnTo>
                    <a:pt x="395" y="200"/>
                  </a:lnTo>
                  <a:lnTo>
                    <a:pt x="395" y="200"/>
                  </a:lnTo>
                  <a:lnTo>
                    <a:pt x="397" y="200"/>
                  </a:lnTo>
                  <a:lnTo>
                    <a:pt x="397" y="198"/>
                  </a:lnTo>
                  <a:lnTo>
                    <a:pt x="397" y="150"/>
                  </a:lnTo>
                  <a:lnTo>
                    <a:pt x="401" y="149"/>
                  </a:lnTo>
                  <a:lnTo>
                    <a:pt x="401" y="140"/>
                  </a:lnTo>
                  <a:lnTo>
                    <a:pt x="367" y="140"/>
                  </a:lnTo>
                  <a:lnTo>
                    <a:pt x="367" y="140"/>
                  </a:lnTo>
                  <a:lnTo>
                    <a:pt x="365" y="140"/>
                  </a:lnTo>
                  <a:lnTo>
                    <a:pt x="365" y="137"/>
                  </a:lnTo>
                  <a:lnTo>
                    <a:pt x="365" y="137"/>
                  </a:lnTo>
                  <a:lnTo>
                    <a:pt x="362" y="130"/>
                  </a:lnTo>
                  <a:lnTo>
                    <a:pt x="357" y="122"/>
                  </a:lnTo>
                  <a:lnTo>
                    <a:pt x="350" y="118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38" y="117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1"/>
                  </a:lnTo>
                  <a:lnTo>
                    <a:pt x="334" y="111"/>
                  </a:lnTo>
                  <a:lnTo>
                    <a:pt x="334" y="106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28" y="73"/>
                  </a:lnTo>
                  <a:lnTo>
                    <a:pt x="325" y="54"/>
                  </a:lnTo>
                  <a:lnTo>
                    <a:pt x="319" y="34"/>
                  </a:lnTo>
                  <a:lnTo>
                    <a:pt x="327" y="34"/>
                  </a:lnTo>
                  <a:lnTo>
                    <a:pt x="322" y="29"/>
                  </a:lnTo>
                  <a:lnTo>
                    <a:pt x="322" y="23"/>
                  </a:lnTo>
                  <a:lnTo>
                    <a:pt x="327" y="20"/>
                  </a:lnTo>
                  <a:lnTo>
                    <a:pt x="328" y="17"/>
                  </a:lnTo>
                  <a:lnTo>
                    <a:pt x="337" y="12"/>
                  </a:lnTo>
                  <a:lnTo>
                    <a:pt x="322" y="12"/>
                  </a:lnTo>
                  <a:lnTo>
                    <a:pt x="322" y="12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21" y="0"/>
                  </a:lnTo>
                  <a:lnTo>
                    <a:pt x="318" y="0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2" y="1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4" y="12"/>
                  </a:lnTo>
                  <a:lnTo>
                    <a:pt x="299" y="12"/>
                  </a:lnTo>
                  <a:lnTo>
                    <a:pt x="305" y="17"/>
                  </a:lnTo>
                  <a:lnTo>
                    <a:pt x="306" y="20"/>
                  </a:lnTo>
                  <a:lnTo>
                    <a:pt x="309" y="23"/>
                  </a:lnTo>
                  <a:lnTo>
                    <a:pt x="311" y="28"/>
                  </a:lnTo>
                  <a:lnTo>
                    <a:pt x="30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08" y="54"/>
                  </a:lnTo>
                  <a:lnTo>
                    <a:pt x="305" y="73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299" y="106"/>
                  </a:lnTo>
                  <a:lnTo>
                    <a:pt x="299" y="111"/>
                  </a:lnTo>
                  <a:lnTo>
                    <a:pt x="299" y="111"/>
                  </a:lnTo>
                  <a:lnTo>
                    <a:pt x="299" y="118"/>
                  </a:lnTo>
                  <a:lnTo>
                    <a:pt x="299" y="118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84" y="118"/>
                  </a:lnTo>
                  <a:lnTo>
                    <a:pt x="277" y="122"/>
                  </a:lnTo>
                  <a:lnTo>
                    <a:pt x="273" y="130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40"/>
                  </a:lnTo>
                  <a:lnTo>
                    <a:pt x="268" y="140"/>
                  </a:lnTo>
                  <a:lnTo>
                    <a:pt x="241" y="140"/>
                  </a:lnTo>
                  <a:lnTo>
                    <a:pt x="241" y="140"/>
                  </a:lnTo>
                  <a:lnTo>
                    <a:pt x="239" y="140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27"/>
                  </a:lnTo>
                  <a:lnTo>
                    <a:pt x="235" y="118"/>
                  </a:lnTo>
                  <a:lnTo>
                    <a:pt x="232" y="114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3" y="86"/>
                  </a:lnTo>
                  <a:lnTo>
                    <a:pt x="201" y="86"/>
                  </a:lnTo>
                  <a:lnTo>
                    <a:pt x="201" y="86"/>
                  </a:lnTo>
                  <a:lnTo>
                    <a:pt x="190" y="96"/>
                  </a:lnTo>
                  <a:lnTo>
                    <a:pt x="175" y="111"/>
                  </a:lnTo>
                  <a:lnTo>
                    <a:pt x="175" y="111"/>
                  </a:lnTo>
                  <a:lnTo>
                    <a:pt x="169" y="118"/>
                  </a:lnTo>
                  <a:lnTo>
                    <a:pt x="166" y="125"/>
                  </a:lnTo>
                  <a:lnTo>
                    <a:pt x="165" y="133"/>
                  </a:lnTo>
                  <a:lnTo>
                    <a:pt x="165" y="137"/>
                  </a:lnTo>
                  <a:lnTo>
                    <a:pt x="165" y="137"/>
                  </a:lnTo>
                  <a:lnTo>
                    <a:pt x="165" y="139"/>
                  </a:lnTo>
                  <a:lnTo>
                    <a:pt x="163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7" y="140"/>
                  </a:lnTo>
                  <a:lnTo>
                    <a:pt x="136" y="137"/>
                  </a:lnTo>
                  <a:lnTo>
                    <a:pt x="136" y="137"/>
                  </a:lnTo>
                  <a:lnTo>
                    <a:pt x="133" y="130"/>
                  </a:lnTo>
                  <a:lnTo>
                    <a:pt x="128" y="122"/>
                  </a:lnTo>
                  <a:lnTo>
                    <a:pt x="121" y="118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09" y="117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5" y="111"/>
                  </a:lnTo>
                  <a:lnTo>
                    <a:pt x="105" y="111"/>
                  </a:lnTo>
                  <a:lnTo>
                    <a:pt x="105" y="106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1" y="73"/>
                  </a:lnTo>
                  <a:lnTo>
                    <a:pt x="96" y="54"/>
                  </a:lnTo>
                  <a:lnTo>
                    <a:pt x="90" y="34"/>
                  </a:lnTo>
                  <a:lnTo>
                    <a:pt x="98" y="34"/>
                  </a:lnTo>
                  <a:lnTo>
                    <a:pt x="95" y="29"/>
                  </a:lnTo>
                  <a:lnTo>
                    <a:pt x="95" y="23"/>
                  </a:lnTo>
                  <a:lnTo>
                    <a:pt x="99" y="20"/>
                  </a:lnTo>
                  <a:lnTo>
                    <a:pt x="99" y="17"/>
                  </a:lnTo>
                  <a:lnTo>
                    <a:pt x="108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5" y="12"/>
                  </a:lnTo>
                  <a:lnTo>
                    <a:pt x="70" y="12"/>
                  </a:lnTo>
                  <a:lnTo>
                    <a:pt x="77" y="17"/>
                  </a:lnTo>
                  <a:lnTo>
                    <a:pt x="77" y="20"/>
                  </a:lnTo>
                  <a:lnTo>
                    <a:pt x="82" y="23"/>
                  </a:lnTo>
                  <a:lnTo>
                    <a:pt x="83" y="28"/>
                  </a:lnTo>
                  <a:lnTo>
                    <a:pt x="77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79" y="54"/>
                  </a:lnTo>
                  <a:lnTo>
                    <a:pt x="76" y="73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0" y="117"/>
                  </a:lnTo>
                  <a:lnTo>
                    <a:pt x="55" y="118"/>
                  </a:lnTo>
                  <a:lnTo>
                    <a:pt x="48" y="124"/>
                  </a:lnTo>
                  <a:lnTo>
                    <a:pt x="44" y="131"/>
                  </a:lnTo>
                  <a:lnTo>
                    <a:pt x="42" y="136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0" y="140"/>
                  </a:lnTo>
                  <a:lnTo>
                    <a:pt x="0" y="149"/>
                  </a:lnTo>
                  <a:lnTo>
                    <a:pt x="4" y="150"/>
                  </a:lnTo>
                  <a:lnTo>
                    <a:pt x="4" y="198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7" y="200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3" y="201"/>
                  </a:lnTo>
                  <a:lnTo>
                    <a:pt x="13" y="203"/>
                  </a:lnTo>
                  <a:lnTo>
                    <a:pt x="13" y="220"/>
                  </a:lnTo>
                  <a:lnTo>
                    <a:pt x="16" y="220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8"/>
                  </a:lnTo>
                  <a:lnTo>
                    <a:pt x="15" y="270"/>
                  </a:lnTo>
                  <a:lnTo>
                    <a:pt x="6" y="270"/>
                  </a:lnTo>
                  <a:lnTo>
                    <a:pt x="6" y="270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7" y="280"/>
                  </a:lnTo>
                  <a:lnTo>
                    <a:pt x="10" y="281"/>
                  </a:lnTo>
                  <a:lnTo>
                    <a:pt x="12" y="286"/>
                  </a:lnTo>
                  <a:lnTo>
                    <a:pt x="12" y="299"/>
                  </a:lnTo>
                  <a:lnTo>
                    <a:pt x="16" y="299"/>
                  </a:lnTo>
                  <a:lnTo>
                    <a:pt x="16" y="461"/>
                  </a:lnTo>
                  <a:lnTo>
                    <a:pt x="10" y="461"/>
                  </a:lnTo>
                  <a:lnTo>
                    <a:pt x="10" y="470"/>
                  </a:lnTo>
                  <a:lnTo>
                    <a:pt x="7" y="474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9" y="556"/>
                  </a:lnTo>
                  <a:lnTo>
                    <a:pt x="10" y="557"/>
                  </a:lnTo>
                  <a:lnTo>
                    <a:pt x="133" y="557"/>
                  </a:lnTo>
                  <a:lnTo>
                    <a:pt x="133" y="557"/>
                  </a:lnTo>
                  <a:lnTo>
                    <a:pt x="136" y="556"/>
                  </a:lnTo>
                  <a:lnTo>
                    <a:pt x="136" y="554"/>
                  </a:lnTo>
                  <a:lnTo>
                    <a:pt x="136" y="474"/>
                  </a:lnTo>
                  <a:lnTo>
                    <a:pt x="133" y="470"/>
                  </a:lnTo>
                  <a:lnTo>
                    <a:pt x="133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19"/>
                  </a:lnTo>
                  <a:lnTo>
                    <a:pt x="130" y="309"/>
                  </a:lnTo>
                  <a:lnTo>
                    <a:pt x="133" y="296"/>
                  </a:lnTo>
                  <a:lnTo>
                    <a:pt x="139" y="284"/>
                  </a:lnTo>
                  <a:lnTo>
                    <a:pt x="141" y="277"/>
                  </a:lnTo>
                  <a:lnTo>
                    <a:pt x="147" y="271"/>
                  </a:lnTo>
                  <a:lnTo>
                    <a:pt x="152" y="267"/>
                  </a:lnTo>
                  <a:lnTo>
                    <a:pt x="159" y="261"/>
                  </a:lnTo>
                  <a:lnTo>
                    <a:pt x="168" y="258"/>
                  </a:lnTo>
                  <a:lnTo>
                    <a:pt x="176" y="255"/>
                  </a:lnTo>
                  <a:lnTo>
                    <a:pt x="187" y="252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11" y="252"/>
                  </a:lnTo>
                  <a:lnTo>
                    <a:pt x="223" y="255"/>
                  </a:lnTo>
                  <a:lnTo>
                    <a:pt x="232" y="258"/>
                  </a:lnTo>
                  <a:lnTo>
                    <a:pt x="241" y="261"/>
                  </a:lnTo>
                  <a:lnTo>
                    <a:pt x="248" y="265"/>
                  </a:lnTo>
                  <a:lnTo>
                    <a:pt x="255" y="271"/>
                  </a:lnTo>
                  <a:lnTo>
                    <a:pt x="261" y="277"/>
                  </a:lnTo>
                  <a:lnTo>
                    <a:pt x="265" y="283"/>
                  </a:lnTo>
                  <a:lnTo>
                    <a:pt x="273" y="296"/>
                  </a:lnTo>
                  <a:lnTo>
                    <a:pt x="276" y="308"/>
                  </a:lnTo>
                  <a:lnTo>
                    <a:pt x="279" y="319"/>
                  </a:lnTo>
                  <a:lnTo>
                    <a:pt x="279" y="328"/>
                  </a:lnTo>
                  <a:lnTo>
                    <a:pt x="279" y="461"/>
                  </a:lnTo>
                  <a:lnTo>
                    <a:pt x="274" y="461"/>
                  </a:lnTo>
                  <a:lnTo>
                    <a:pt x="274" y="470"/>
                  </a:lnTo>
                  <a:lnTo>
                    <a:pt x="271" y="474"/>
                  </a:lnTo>
                  <a:lnTo>
                    <a:pt x="271" y="554"/>
                  </a:lnTo>
                  <a:lnTo>
                    <a:pt x="271" y="554"/>
                  </a:lnTo>
                  <a:lnTo>
                    <a:pt x="271" y="556"/>
                  </a:lnTo>
                  <a:lnTo>
                    <a:pt x="274" y="557"/>
                  </a:lnTo>
                  <a:lnTo>
                    <a:pt x="392" y="557"/>
                  </a:lnTo>
                  <a:lnTo>
                    <a:pt x="392" y="557"/>
                  </a:lnTo>
                  <a:lnTo>
                    <a:pt x="394" y="556"/>
                  </a:lnTo>
                  <a:lnTo>
                    <a:pt x="395" y="554"/>
                  </a:lnTo>
                  <a:lnTo>
                    <a:pt x="395" y="474"/>
                  </a:lnTo>
                  <a:lnTo>
                    <a:pt x="391" y="470"/>
                  </a:lnTo>
                  <a:lnTo>
                    <a:pt x="391" y="461"/>
                  </a:lnTo>
                  <a:lnTo>
                    <a:pt x="386" y="461"/>
                  </a:lnTo>
                  <a:lnTo>
                    <a:pt x="386" y="299"/>
                  </a:lnTo>
                  <a:lnTo>
                    <a:pt x="389" y="299"/>
                  </a:lnTo>
                  <a:lnTo>
                    <a:pt x="389" y="286"/>
                  </a:lnTo>
                  <a:lnTo>
                    <a:pt x="389" y="286"/>
                  </a:lnTo>
                  <a:lnTo>
                    <a:pt x="392" y="281"/>
                  </a:lnTo>
                  <a:lnTo>
                    <a:pt x="394" y="280"/>
                  </a:lnTo>
                  <a:lnTo>
                    <a:pt x="398" y="279"/>
                  </a:lnTo>
                  <a:lnTo>
                    <a:pt x="398" y="271"/>
                  </a:lnTo>
                  <a:lnTo>
                    <a:pt x="398" y="271"/>
                  </a:lnTo>
                  <a:lnTo>
                    <a:pt x="397" y="270"/>
                  </a:lnTo>
                  <a:lnTo>
                    <a:pt x="395" y="270"/>
                  </a:lnTo>
                  <a:lnTo>
                    <a:pt x="388" y="270"/>
                  </a:lnTo>
                  <a:lnTo>
                    <a:pt x="388" y="270"/>
                  </a:lnTo>
                  <a:lnTo>
                    <a:pt x="386" y="268"/>
                  </a:lnTo>
                  <a:lnTo>
                    <a:pt x="385" y="267"/>
                  </a:lnTo>
                  <a:lnTo>
                    <a:pt x="385" y="220"/>
                  </a:lnTo>
                  <a:lnTo>
                    <a:pt x="388" y="2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17"/>
            <p:cNvSpPr>
              <a:spLocks/>
            </p:cNvSpPr>
            <p:nvPr/>
          </p:nvSpPr>
          <p:spPr bwMode="auto">
            <a:xfrm>
              <a:off x="1152525" y="6092521"/>
              <a:ext cx="411163" cy="650875"/>
            </a:xfrm>
            <a:custGeom>
              <a:avLst/>
              <a:gdLst>
                <a:gd name="T0" fmla="*/ 240 w 259"/>
                <a:gd name="T1" fmla="*/ 374 h 410"/>
                <a:gd name="T2" fmla="*/ 238 w 259"/>
                <a:gd name="T3" fmla="*/ 362 h 410"/>
                <a:gd name="T4" fmla="*/ 234 w 259"/>
                <a:gd name="T5" fmla="*/ 354 h 410"/>
                <a:gd name="T6" fmla="*/ 225 w 259"/>
                <a:gd name="T7" fmla="*/ 349 h 410"/>
                <a:gd name="T8" fmla="*/ 222 w 259"/>
                <a:gd name="T9" fmla="*/ 348 h 410"/>
                <a:gd name="T10" fmla="*/ 216 w 259"/>
                <a:gd name="T11" fmla="*/ 340 h 410"/>
                <a:gd name="T12" fmla="*/ 216 w 259"/>
                <a:gd name="T13" fmla="*/ 331 h 410"/>
                <a:gd name="T14" fmla="*/ 214 w 259"/>
                <a:gd name="T15" fmla="*/ 327 h 410"/>
                <a:gd name="T16" fmla="*/ 204 w 259"/>
                <a:gd name="T17" fmla="*/ 315 h 410"/>
                <a:gd name="T18" fmla="*/ 201 w 259"/>
                <a:gd name="T19" fmla="*/ 310 h 410"/>
                <a:gd name="T20" fmla="*/ 186 w 259"/>
                <a:gd name="T21" fmla="*/ 310 h 410"/>
                <a:gd name="T22" fmla="*/ 173 w 259"/>
                <a:gd name="T23" fmla="*/ 310 h 410"/>
                <a:gd name="T24" fmla="*/ 173 w 259"/>
                <a:gd name="T25" fmla="*/ 287 h 410"/>
                <a:gd name="T26" fmla="*/ 165 w 259"/>
                <a:gd name="T27" fmla="*/ 278 h 410"/>
                <a:gd name="T28" fmla="*/ 158 w 259"/>
                <a:gd name="T29" fmla="*/ 217 h 410"/>
                <a:gd name="T30" fmla="*/ 131 w 259"/>
                <a:gd name="T31" fmla="*/ 198 h 410"/>
                <a:gd name="T32" fmla="*/ 131 w 259"/>
                <a:gd name="T33" fmla="*/ 195 h 410"/>
                <a:gd name="T34" fmla="*/ 125 w 259"/>
                <a:gd name="T35" fmla="*/ 190 h 410"/>
                <a:gd name="T36" fmla="*/ 121 w 259"/>
                <a:gd name="T37" fmla="*/ 189 h 410"/>
                <a:gd name="T38" fmla="*/ 118 w 259"/>
                <a:gd name="T39" fmla="*/ 42 h 410"/>
                <a:gd name="T40" fmla="*/ 124 w 259"/>
                <a:gd name="T41" fmla="*/ 34 h 410"/>
                <a:gd name="T42" fmla="*/ 131 w 259"/>
                <a:gd name="T43" fmla="*/ 18 h 410"/>
                <a:gd name="T44" fmla="*/ 130 w 259"/>
                <a:gd name="T45" fmla="*/ 16 h 410"/>
                <a:gd name="T46" fmla="*/ 121 w 259"/>
                <a:gd name="T47" fmla="*/ 16 h 410"/>
                <a:gd name="T48" fmla="*/ 116 w 259"/>
                <a:gd name="T49" fmla="*/ 4 h 410"/>
                <a:gd name="T50" fmla="*/ 109 w 259"/>
                <a:gd name="T51" fmla="*/ 0 h 410"/>
                <a:gd name="T52" fmla="*/ 104 w 259"/>
                <a:gd name="T53" fmla="*/ 1 h 410"/>
                <a:gd name="T54" fmla="*/ 98 w 259"/>
                <a:gd name="T55" fmla="*/ 10 h 410"/>
                <a:gd name="T56" fmla="*/ 86 w 259"/>
                <a:gd name="T57" fmla="*/ 16 h 410"/>
                <a:gd name="T58" fmla="*/ 85 w 259"/>
                <a:gd name="T59" fmla="*/ 18 h 410"/>
                <a:gd name="T60" fmla="*/ 89 w 259"/>
                <a:gd name="T61" fmla="*/ 28 h 410"/>
                <a:gd name="T62" fmla="*/ 98 w 259"/>
                <a:gd name="T63" fmla="*/ 42 h 410"/>
                <a:gd name="T64" fmla="*/ 97 w 259"/>
                <a:gd name="T65" fmla="*/ 189 h 410"/>
                <a:gd name="T66" fmla="*/ 92 w 259"/>
                <a:gd name="T67" fmla="*/ 190 h 410"/>
                <a:gd name="T68" fmla="*/ 88 w 259"/>
                <a:gd name="T69" fmla="*/ 195 h 410"/>
                <a:gd name="T70" fmla="*/ 79 w 259"/>
                <a:gd name="T71" fmla="*/ 198 h 410"/>
                <a:gd name="T72" fmla="*/ 71 w 259"/>
                <a:gd name="T73" fmla="*/ 245 h 410"/>
                <a:gd name="T74" fmla="*/ 64 w 259"/>
                <a:gd name="T75" fmla="*/ 256 h 410"/>
                <a:gd name="T76" fmla="*/ 48 w 259"/>
                <a:gd name="T77" fmla="*/ 306 h 410"/>
                <a:gd name="T78" fmla="*/ 36 w 259"/>
                <a:gd name="T79" fmla="*/ 351 h 410"/>
                <a:gd name="T80" fmla="*/ 24 w 259"/>
                <a:gd name="T81" fmla="*/ 373 h 410"/>
                <a:gd name="T82" fmla="*/ 259 w 259"/>
                <a:gd name="T83" fmla="*/ 410 h 410"/>
                <a:gd name="T84" fmla="*/ 259 w 259"/>
                <a:gd name="T85" fmla="*/ 388 h 410"/>
                <a:gd name="T86" fmla="*/ 243 w 259"/>
                <a:gd name="T87" fmla="*/ 377 h 410"/>
                <a:gd name="T88" fmla="*/ 240 w 259"/>
                <a:gd name="T89" fmla="*/ 374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9" h="410">
                  <a:moveTo>
                    <a:pt x="240" y="374"/>
                  </a:moveTo>
                  <a:lnTo>
                    <a:pt x="240" y="374"/>
                  </a:lnTo>
                  <a:lnTo>
                    <a:pt x="240" y="370"/>
                  </a:lnTo>
                  <a:lnTo>
                    <a:pt x="238" y="362"/>
                  </a:lnTo>
                  <a:lnTo>
                    <a:pt x="235" y="358"/>
                  </a:lnTo>
                  <a:lnTo>
                    <a:pt x="234" y="354"/>
                  </a:lnTo>
                  <a:lnTo>
                    <a:pt x="229" y="351"/>
                  </a:lnTo>
                  <a:lnTo>
                    <a:pt x="225" y="349"/>
                  </a:lnTo>
                  <a:lnTo>
                    <a:pt x="225" y="349"/>
                  </a:lnTo>
                  <a:lnTo>
                    <a:pt x="222" y="348"/>
                  </a:lnTo>
                  <a:lnTo>
                    <a:pt x="219" y="346"/>
                  </a:lnTo>
                  <a:lnTo>
                    <a:pt x="216" y="340"/>
                  </a:lnTo>
                  <a:lnTo>
                    <a:pt x="216" y="336"/>
                  </a:lnTo>
                  <a:lnTo>
                    <a:pt x="216" y="331"/>
                  </a:lnTo>
                  <a:lnTo>
                    <a:pt x="216" y="331"/>
                  </a:lnTo>
                  <a:lnTo>
                    <a:pt x="214" y="327"/>
                  </a:lnTo>
                  <a:lnTo>
                    <a:pt x="210" y="321"/>
                  </a:lnTo>
                  <a:lnTo>
                    <a:pt x="204" y="315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195" y="310"/>
                  </a:lnTo>
                  <a:lnTo>
                    <a:pt x="186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0" y="284"/>
                  </a:lnTo>
                  <a:lnTo>
                    <a:pt x="165" y="278"/>
                  </a:lnTo>
                  <a:lnTo>
                    <a:pt x="158" y="272"/>
                  </a:lnTo>
                  <a:lnTo>
                    <a:pt x="158" y="217"/>
                  </a:lnTo>
                  <a:lnTo>
                    <a:pt x="147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28" y="192"/>
                  </a:lnTo>
                  <a:lnTo>
                    <a:pt x="125" y="190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4" y="34"/>
                  </a:lnTo>
                  <a:lnTo>
                    <a:pt x="127" y="2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9" y="10"/>
                  </a:lnTo>
                  <a:lnTo>
                    <a:pt x="116" y="4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4" y="1"/>
                  </a:lnTo>
                  <a:lnTo>
                    <a:pt x="101" y="4"/>
                  </a:lnTo>
                  <a:lnTo>
                    <a:pt x="98" y="10"/>
                  </a:lnTo>
                  <a:lnTo>
                    <a:pt x="9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9" y="28"/>
                  </a:lnTo>
                  <a:lnTo>
                    <a:pt x="92" y="34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2" y="190"/>
                  </a:lnTo>
                  <a:lnTo>
                    <a:pt x="89" y="192"/>
                  </a:lnTo>
                  <a:lnTo>
                    <a:pt x="88" y="195"/>
                  </a:lnTo>
                  <a:lnTo>
                    <a:pt x="88" y="198"/>
                  </a:lnTo>
                  <a:lnTo>
                    <a:pt x="79" y="198"/>
                  </a:lnTo>
                  <a:lnTo>
                    <a:pt x="79" y="241"/>
                  </a:lnTo>
                  <a:lnTo>
                    <a:pt x="71" y="245"/>
                  </a:lnTo>
                  <a:lnTo>
                    <a:pt x="71" y="256"/>
                  </a:lnTo>
                  <a:lnTo>
                    <a:pt x="64" y="256"/>
                  </a:lnTo>
                  <a:lnTo>
                    <a:pt x="64" y="288"/>
                  </a:lnTo>
                  <a:lnTo>
                    <a:pt x="48" y="306"/>
                  </a:lnTo>
                  <a:lnTo>
                    <a:pt x="48" y="339"/>
                  </a:lnTo>
                  <a:lnTo>
                    <a:pt x="36" y="351"/>
                  </a:lnTo>
                  <a:lnTo>
                    <a:pt x="36" y="373"/>
                  </a:lnTo>
                  <a:lnTo>
                    <a:pt x="24" y="373"/>
                  </a:lnTo>
                  <a:lnTo>
                    <a:pt x="0" y="406"/>
                  </a:lnTo>
                  <a:lnTo>
                    <a:pt x="259" y="410"/>
                  </a:lnTo>
                  <a:lnTo>
                    <a:pt x="259" y="388"/>
                  </a:lnTo>
                  <a:lnTo>
                    <a:pt x="259" y="388"/>
                  </a:lnTo>
                  <a:lnTo>
                    <a:pt x="250" y="382"/>
                  </a:lnTo>
                  <a:lnTo>
                    <a:pt x="243" y="377"/>
                  </a:lnTo>
                  <a:lnTo>
                    <a:pt x="240" y="374"/>
                  </a:lnTo>
                  <a:lnTo>
                    <a:pt x="240" y="3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22"/>
            <p:cNvSpPr>
              <a:spLocks noEditPoints="1"/>
            </p:cNvSpPr>
            <p:nvPr/>
          </p:nvSpPr>
          <p:spPr bwMode="auto">
            <a:xfrm>
              <a:off x="8717002" y="5950427"/>
              <a:ext cx="1365732" cy="783443"/>
            </a:xfrm>
            <a:custGeom>
              <a:avLst/>
              <a:gdLst>
                <a:gd name="T0" fmla="*/ 570 w 1032"/>
                <a:gd name="T1" fmla="*/ 204 h 592"/>
                <a:gd name="T2" fmla="*/ 602 w 1032"/>
                <a:gd name="T3" fmla="*/ 192 h 592"/>
                <a:gd name="T4" fmla="*/ 588 w 1032"/>
                <a:gd name="T5" fmla="*/ 160 h 592"/>
                <a:gd name="T6" fmla="*/ 548 w 1032"/>
                <a:gd name="T7" fmla="*/ 104 h 592"/>
                <a:gd name="T8" fmla="*/ 540 w 1032"/>
                <a:gd name="T9" fmla="*/ 80 h 592"/>
                <a:gd name="T10" fmla="*/ 526 w 1032"/>
                <a:gd name="T11" fmla="*/ 64 h 592"/>
                <a:gd name="T12" fmla="*/ 474 w 1032"/>
                <a:gd name="T13" fmla="*/ 2 h 592"/>
                <a:gd name="T14" fmla="*/ 494 w 1032"/>
                <a:gd name="T15" fmla="*/ 76 h 592"/>
                <a:gd name="T16" fmla="*/ 462 w 1032"/>
                <a:gd name="T17" fmla="*/ 104 h 592"/>
                <a:gd name="T18" fmla="*/ 510 w 1032"/>
                <a:gd name="T19" fmla="*/ 116 h 592"/>
                <a:gd name="T20" fmla="*/ 476 w 1032"/>
                <a:gd name="T21" fmla="*/ 120 h 592"/>
                <a:gd name="T22" fmla="*/ 464 w 1032"/>
                <a:gd name="T23" fmla="*/ 148 h 592"/>
                <a:gd name="T24" fmla="*/ 456 w 1032"/>
                <a:gd name="T25" fmla="*/ 184 h 592"/>
                <a:gd name="T26" fmla="*/ 434 w 1032"/>
                <a:gd name="T27" fmla="*/ 204 h 592"/>
                <a:gd name="T28" fmla="*/ 0 w 1032"/>
                <a:gd name="T29" fmla="*/ 278 h 592"/>
                <a:gd name="T30" fmla="*/ 60 w 1032"/>
                <a:gd name="T31" fmla="*/ 344 h 592"/>
                <a:gd name="T32" fmla="*/ 70 w 1032"/>
                <a:gd name="T33" fmla="*/ 532 h 592"/>
                <a:gd name="T34" fmla="*/ 56 w 1032"/>
                <a:gd name="T35" fmla="*/ 554 h 592"/>
                <a:gd name="T36" fmla="*/ 970 w 1032"/>
                <a:gd name="T37" fmla="*/ 546 h 592"/>
                <a:gd name="T38" fmla="*/ 958 w 1032"/>
                <a:gd name="T39" fmla="*/ 370 h 592"/>
                <a:gd name="T40" fmla="*/ 988 w 1032"/>
                <a:gd name="T41" fmla="*/ 330 h 592"/>
                <a:gd name="T42" fmla="*/ 158 w 1032"/>
                <a:gd name="T43" fmla="*/ 532 h 592"/>
                <a:gd name="T44" fmla="*/ 142 w 1032"/>
                <a:gd name="T45" fmla="*/ 546 h 592"/>
                <a:gd name="T46" fmla="*/ 112 w 1032"/>
                <a:gd name="T47" fmla="*/ 538 h 592"/>
                <a:gd name="T48" fmla="*/ 108 w 1032"/>
                <a:gd name="T49" fmla="*/ 362 h 592"/>
                <a:gd name="T50" fmla="*/ 158 w 1032"/>
                <a:gd name="T51" fmla="*/ 532 h 592"/>
                <a:gd name="T52" fmla="*/ 228 w 1032"/>
                <a:gd name="T53" fmla="*/ 546 h 592"/>
                <a:gd name="T54" fmla="*/ 196 w 1032"/>
                <a:gd name="T55" fmla="*/ 542 h 592"/>
                <a:gd name="T56" fmla="*/ 190 w 1032"/>
                <a:gd name="T57" fmla="*/ 362 h 592"/>
                <a:gd name="T58" fmla="*/ 240 w 1032"/>
                <a:gd name="T59" fmla="*/ 370 h 592"/>
                <a:gd name="T60" fmla="*/ 310 w 1032"/>
                <a:gd name="T61" fmla="*/ 542 h 592"/>
                <a:gd name="T62" fmla="*/ 282 w 1032"/>
                <a:gd name="T63" fmla="*/ 542 h 592"/>
                <a:gd name="T64" fmla="*/ 272 w 1032"/>
                <a:gd name="T65" fmla="*/ 370 h 592"/>
                <a:gd name="T66" fmla="*/ 320 w 1032"/>
                <a:gd name="T67" fmla="*/ 370 h 592"/>
                <a:gd name="T68" fmla="*/ 574 w 1032"/>
                <a:gd name="T69" fmla="*/ 170 h 592"/>
                <a:gd name="T70" fmla="*/ 556 w 1032"/>
                <a:gd name="T71" fmla="*/ 174 h 592"/>
                <a:gd name="T72" fmla="*/ 546 w 1032"/>
                <a:gd name="T73" fmla="*/ 130 h 592"/>
                <a:gd name="T74" fmla="*/ 544 w 1032"/>
                <a:gd name="T75" fmla="*/ 110 h 592"/>
                <a:gd name="T76" fmla="*/ 548 w 1032"/>
                <a:gd name="T77" fmla="*/ 162 h 592"/>
                <a:gd name="T78" fmla="*/ 552 w 1032"/>
                <a:gd name="T79" fmla="*/ 150 h 592"/>
                <a:gd name="T80" fmla="*/ 496 w 1032"/>
                <a:gd name="T81" fmla="*/ 152 h 592"/>
                <a:gd name="T82" fmla="*/ 514 w 1032"/>
                <a:gd name="T83" fmla="*/ 170 h 592"/>
                <a:gd name="T84" fmla="*/ 490 w 1032"/>
                <a:gd name="T85" fmla="*/ 152 h 592"/>
                <a:gd name="T86" fmla="*/ 502 w 1032"/>
                <a:gd name="T87" fmla="*/ 180 h 592"/>
                <a:gd name="T88" fmla="*/ 486 w 1032"/>
                <a:gd name="T89" fmla="*/ 178 h 592"/>
                <a:gd name="T90" fmla="*/ 464 w 1032"/>
                <a:gd name="T91" fmla="*/ 180 h 592"/>
                <a:gd name="T92" fmla="*/ 588 w 1032"/>
                <a:gd name="T93" fmla="*/ 554 h 592"/>
                <a:gd name="T94" fmla="*/ 464 w 1032"/>
                <a:gd name="T95" fmla="*/ 336 h 592"/>
                <a:gd name="T96" fmla="*/ 542 w 1032"/>
                <a:gd name="T97" fmla="*/ 314 h 592"/>
                <a:gd name="T98" fmla="*/ 588 w 1032"/>
                <a:gd name="T99" fmla="*/ 380 h 592"/>
                <a:gd name="T100" fmla="*/ 752 w 1032"/>
                <a:gd name="T101" fmla="*/ 538 h 592"/>
                <a:gd name="T102" fmla="*/ 726 w 1032"/>
                <a:gd name="T103" fmla="*/ 546 h 592"/>
                <a:gd name="T104" fmla="*/ 710 w 1032"/>
                <a:gd name="T105" fmla="*/ 532 h 592"/>
                <a:gd name="T106" fmla="*/ 756 w 1032"/>
                <a:gd name="T107" fmla="*/ 362 h 592"/>
                <a:gd name="T108" fmla="*/ 840 w 1032"/>
                <a:gd name="T109" fmla="*/ 538 h 592"/>
                <a:gd name="T110" fmla="*/ 806 w 1032"/>
                <a:gd name="T111" fmla="*/ 554 h 592"/>
                <a:gd name="T112" fmla="*/ 794 w 1032"/>
                <a:gd name="T113" fmla="*/ 532 h 592"/>
                <a:gd name="T114" fmla="*/ 838 w 1032"/>
                <a:gd name="T115" fmla="*/ 344 h 592"/>
                <a:gd name="T116" fmla="*/ 924 w 1032"/>
                <a:gd name="T117" fmla="*/ 532 h 592"/>
                <a:gd name="T118" fmla="*/ 912 w 1032"/>
                <a:gd name="T119" fmla="*/ 554 h 592"/>
                <a:gd name="T120" fmla="*/ 876 w 1032"/>
                <a:gd name="T121" fmla="*/ 538 h 592"/>
                <a:gd name="T122" fmla="*/ 878 w 1032"/>
                <a:gd name="T123" fmla="*/ 34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2" h="592">
                  <a:moveTo>
                    <a:pt x="686" y="278"/>
                  </a:moveTo>
                  <a:lnTo>
                    <a:pt x="686" y="218"/>
                  </a:lnTo>
                  <a:lnTo>
                    <a:pt x="690" y="218"/>
                  </a:lnTo>
                  <a:lnTo>
                    <a:pt x="690" y="210"/>
                  </a:lnTo>
                  <a:lnTo>
                    <a:pt x="698" y="210"/>
                  </a:lnTo>
                  <a:lnTo>
                    <a:pt x="698" y="204"/>
                  </a:lnTo>
                  <a:lnTo>
                    <a:pt x="570" y="204"/>
                  </a:lnTo>
                  <a:lnTo>
                    <a:pt x="570" y="204"/>
                  </a:lnTo>
                  <a:lnTo>
                    <a:pt x="582" y="184"/>
                  </a:lnTo>
                  <a:lnTo>
                    <a:pt x="582" y="184"/>
                  </a:lnTo>
                  <a:lnTo>
                    <a:pt x="588" y="172"/>
                  </a:lnTo>
                  <a:lnTo>
                    <a:pt x="600" y="190"/>
                  </a:lnTo>
                  <a:lnTo>
                    <a:pt x="600" y="190"/>
                  </a:lnTo>
                  <a:lnTo>
                    <a:pt x="602" y="192"/>
                  </a:lnTo>
                  <a:lnTo>
                    <a:pt x="602" y="192"/>
                  </a:lnTo>
                  <a:lnTo>
                    <a:pt x="604" y="192"/>
                  </a:lnTo>
                  <a:lnTo>
                    <a:pt x="604" y="192"/>
                  </a:lnTo>
                  <a:lnTo>
                    <a:pt x="606" y="190"/>
                  </a:lnTo>
                  <a:lnTo>
                    <a:pt x="606" y="18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84" y="144"/>
                  </a:lnTo>
                  <a:lnTo>
                    <a:pt x="580" y="142"/>
                  </a:lnTo>
                  <a:lnTo>
                    <a:pt x="578" y="140"/>
                  </a:lnTo>
                  <a:lnTo>
                    <a:pt x="574" y="142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50" y="9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8" y="88"/>
                  </a:lnTo>
                  <a:lnTo>
                    <a:pt x="546" y="84"/>
                  </a:lnTo>
                  <a:lnTo>
                    <a:pt x="540" y="80"/>
                  </a:lnTo>
                  <a:lnTo>
                    <a:pt x="532" y="78"/>
                  </a:lnTo>
                  <a:lnTo>
                    <a:pt x="532" y="78"/>
                  </a:lnTo>
                  <a:lnTo>
                    <a:pt x="534" y="72"/>
                  </a:lnTo>
                  <a:lnTo>
                    <a:pt x="532" y="68"/>
                  </a:lnTo>
                  <a:lnTo>
                    <a:pt x="530" y="66"/>
                  </a:lnTo>
                  <a:lnTo>
                    <a:pt x="526" y="64"/>
                  </a:lnTo>
                  <a:lnTo>
                    <a:pt x="526" y="64"/>
                  </a:lnTo>
                  <a:lnTo>
                    <a:pt x="522" y="64"/>
                  </a:lnTo>
                  <a:lnTo>
                    <a:pt x="478" y="2"/>
                  </a:lnTo>
                  <a:lnTo>
                    <a:pt x="478" y="2"/>
                  </a:lnTo>
                  <a:lnTo>
                    <a:pt x="476" y="0"/>
                  </a:lnTo>
                  <a:lnTo>
                    <a:pt x="474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2" y="74"/>
                  </a:lnTo>
                  <a:lnTo>
                    <a:pt x="512" y="74"/>
                  </a:lnTo>
                  <a:lnTo>
                    <a:pt x="502" y="74"/>
                  </a:lnTo>
                  <a:lnTo>
                    <a:pt x="494" y="76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64" y="98"/>
                  </a:lnTo>
                  <a:lnTo>
                    <a:pt x="460" y="102"/>
                  </a:lnTo>
                  <a:lnTo>
                    <a:pt x="460" y="104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72" y="104"/>
                  </a:lnTo>
                  <a:lnTo>
                    <a:pt x="484" y="104"/>
                  </a:lnTo>
                  <a:lnTo>
                    <a:pt x="502" y="100"/>
                  </a:lnTo>
                  <a:lnTo>
                    <a:pt x="502" y="100"/>
                  </a:lnTo>
                  <a:lnTo>
                    <a:pt x="502" y="106"/>
                  </a:lnTo>
                  <a:lnTo>
                    <a:pt x="504" y="110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8"/>
                  </a:lnTo>
                  <a:lnTo>
                    <a:pt x="504" y="118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76" y="120"/>
                  </a:lnTo>
                  <a:lnTo>
                    <a:pt x="470" y="124"/>
                  </a:lnTo>
                  <a:lnTo>
                    <a:pt x="466" y="130"/>
                  </a:lnTo>
                  <a:lnTo>
                    <a:pt x="464" y="136"/>
                  </a:lnTo>
                  <a:lnTo>
                    <a:pt x="464" y="136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4" y="148"/>
                  </a:lnTo>
                  <a:lnTo>
                    <a:pt x="460" y="156"/>
                  </a:lnTo>
                  <a:lnTo>
                    <a:pt x="452" y="168"/>
                  </a:lnTo>
                  <a:lnTo>
                    <a:pt x="452" y="168"/>
                  </a:lnTo>
                  <a:lnTo>
                    <a:pt x="450" y="172"/>
                  </a:lnTo>
                  <a:lnTo>
                    <a:pt x="452" y="176"/>
                  </a:lnTo>
                  <a:lnTo>
                    <a:pt x="454" y="184"/>
                  </a:lnTo>
                  <a:lnTo>
                    <a:pt x="456" y="184"/>
                  </a:lnTo>
                  <a:lnTo>
                    <a:pt x="456" y="184"/>
                  </a:lnTo>
                  <a:lnTo>
                    <a:pt x="448" y="188"/>
                  </a:lnTo>
                  <a:lnTo>
                    <a:pt x="448" y="188"/>
                  </a:lnTo>
                  <a:lnTo>
                    <a:pt x="444" y="188"/>
                  </a:lnTo>
                  <a:lnTo>
                    <a:pt x="442" y="192"/>
                  </a:lnTo>
                  <a:lnTo>
                    <a:pt x="434" y="204"/>
                  </a:lnTo>
                  <a:lnTo>
                    <a:pt x="434" y="204"/>
                  </a:lnTo>
                  <a:lnTo>
                    <a:pt x="338" y="204"/>
                  </a:lnTo>
                  <a:lnTo>
                    <a:pt x="338" y="210"/>
                  </a:lnTo>
                  <a:lnTo>
                    <a:pt x="346" y="210"/>
                  </a:lnTo>
                  <a:lnTo>
                    <a:pt x="346" y="218"/>
                  </a:lnTo>
                  <a:lnTo>
                    <a:pt x="350" y="218"/>
                  </a:lnTo>
                  <a:lnTo>
                    <a:pt x="350" y="278"/>
                  </a:lnTo>
                  <a:lnTo>
                    <a:pt x="0" y="278"/>
                  </a:lnTo>
                  <a:lnTo>
                    <a:pt x="0" y="290"/>
                  </a:lnTo>
                  <a:lnTo>
                    <a:pt x="18" y="304"/>
                  </a:lnTo>
                  <a:lnTo>
                    <a:pt x="34" y="304"/>
                  </a:lnTo>
                  <a:lnTo>
                    <a:pt x="44" y="314"/>
                  </a:lnTo>
                  <a:lnTo>
                    <a:pt x="44" y="330"/>
                  </a:lnTo>
                  <a:lnTo>
                    <a:pt x="60" y="330"/>
                  </a:lnTo>
                  <a:lnTo>
                    <a:pt x="60" y="344"/>
                  </a:lnTo>
                  <a:lnTo>
                    <a:pt x="68" y="344"/>
                  </a:lnTo>
                  <a:lnTo>
                    <a:pt x="68" y="362"/>
                  </a:lnTo>
                  <a:lnTo>
                    <a:pt x="72" y="362"/>
                  </a:lnTo>
                  <a:lnTo>
                    <a:pt x="72" y="370"/>
                  </a:lnTo>
                  <a:lnTo>
                    <a:pt x="74" y="370"/>
                  </a:lnTo>
                  <a:lnTo>
                    <a:pt x="74" y="532"/>
                  </a:lnTo>
                  <a:lnTo>
                    <a:pt x="70" y="532"/>
                  </a:lnTo>
                  <a:lnTo>
                    <a:pt x="70" y="538"/>
                  </a:lnTo>
                  <a:lnTo>
                    <a:pt x="64" y="538"/>
                  </a:lnTo>
                  <a:lnTo>
                    <a:pt x="64" y="542"/>
                  </a:lnTo>
                  <a:lnTo>
                    <a:pt x="60" y="542"/>
                  </a:lnTo>
                  <a:lnTo>
                    <a:pt x="60" y="546"/>
                  </a:lnTo>
                  <a:lnTo>
                    <a:pt x="56" y="546"/>
                  </a:lnTo>
                  <a:lnTo>
                    <a:pt x="56" y="554"/>
                  </a:lnTo>
                  <a:lnTo>
                    <a:pt x="34" y="554"/>
                  </a:lnTo>
                  <a:lnTo>
                    <a:pt x="34" y="592"/>
                  </a:lnTo>
                  <a:lnTo>
                    <a:pt x="1004" y="592"/>
                  </a:lnTo>
                  <a:lnTo>
                    <a:pt x="1004" y="554"/>
                  </a:lnTo>
                  <a:lnTo>
                    <a:pt x="974" y="554"/>
                  </a:lnTo>
                  <a:lnTo>
                    <a:pt x="974" y="546"/>
                  </a:lnTo>
                  <a:lnTo>
                    <a:pt x="970" y="546"/>
                  </a:lnTo>
                  <a:lnTo>
                    <a:pt x="970" y="542"/>
                  </a:lnTo>
                  <a:lnTo>
                    <a:pt x="966" y="542"/>
                  </a:lnTo>
                  <a:lnTo>
                    <a:pt x="966" y="538"/>
                  </a:lnTo>
                  <a:lnTo>
                    <a:pt x="962" y="538"/>
                  </a:lnTo>
                  <a:lnTo>
                    <a:pt x="962" y="532"/>
                  </a:lnTo>
                  <a:lnTo>
                    <a:pt x="958" y="532"/>
                  </a:lnTo>
                  <a:lnTo>
                    <a:pt x="958" y="370"/>
                  </a:lnTo>
                  <a:lnTo>
                    <a:pt x="960" y="370"/>
                  </a:lnTo>
                  <a:lnTo>
                    <a:pt x="960" y="362"/>
                  </a:lnTo>
                  <a:lnTo>
                    <a:pt x="964" y="362"/>
                  </a:lnTo>
                  <a:lnTo>
                    <a:pt x="964" y="344"/>
                  </a:lnTo>
                  <a:lnTo>
                    <a:pt x="972" y="344"/>
                  </a:lnTo>
                  <a:lnTo>
                    <a:pt x="972" y="330"/>
                  </a:lnTo>
                  <a:lnTo>
                    <a:pt x="988" y="330"/>
                  </a:lnTo>
                  <a:lnTo>
                    <a:pt x="988" y="314"/>
                  </a:lnTo>
                  <a:lnTo>
                    <a:pt x="998" y="304"/>
                  </a:lnTo>
                  <a:lnTo>
                    <a:pt x="1014" y="304"/>
                  </a:lnTo>
                  <a:lnTo>
                    <a:pt x="1032" y="290"/>
                  </a:lnTo>
                  <a:lnTo>
                    <a:pt x="1032" y="278"/>
                  </a:lnTo>
                  <a:lnTo>
                    <a:pt x="686" y="278"/>
                  </a:lnTo>
                  <a:close/>
                  <a:moveTo>
                    <a:pt x="158" y="532"/>
                  </a:moveTo>
                  <a:lnTo>
                    <a:pt x="154" y="532"/>
                  </a:lnTo>
                  <a:lnTo>
                    <a:pt x="154" y="538"/>
                  </a:lnTo>
                  <a:lnTo>
                    <a:pt x="150" y="538"/>
                  </a:lnTo>
                  <a:lnTo>
                    <a:pt x="150" y="542"/>
                  </a:lnTo>
                  <a:lnTo>
                    <a:pt x="146" y="542"/>
                  </a:lnTo>
                  <a:lnTo>
                    <a:pt x="146" y="546"/>
                  </a:lnTo>
                  <a:lnTo>
                    <a:pt x="142" y="546"/>
                  </a:lnTo>
                  <a:lnTo>
                    <a:pt x="142" y="554"/>
                  </a:lnTo>
                  <a:lnTo>
                    <a:pt x="120" y="554"/>
                  </a:lnTo>
                  <a:lnTo>
                    <a:pt x="120" y="546"/>
                  </a:lnTo>
                  <a:lnTo>
                    <a:pt x="116" y="546"/>
                  </a:lnTo>
                  <a:lnTo>
                    <a:pt x="116" y="542"/>
                  </a:lnTo>
                  <a:lnTo>
                    <a:pt x="112" y="542"/>
                  </a:lnTo>
                  <a:lnTo>
                    <a:pt x="112" y="538"/>
                  </a:lnTo>
                  <a:lnTo>
                    <a:pt x="106" y="538"/>
                  </a:lnTo>
                  <a:lnTo>
                    <a:pt x="106" y="532"/>
                  </a:lnTo>
                  <a:lnTo>
                    <a:pt x="102" y="532"/>
                  </a:lnTo>
                  <a:lnTo>
                    <a:pt x="102" y="370"/>
                  </a:lnTo>
                  <a:lnTo>
                    <a:pt x="104" y="370"/>
                  </a:lnTo>
                  <a:lnTo>
                    <a:pt x="104" y="362"/>
                  </a:lnTo>
                  <a:lnTo>
                    <a:pt x="108" y="362"/>
                  </a:lnTo>
                  <a:lnTo>
                    <a:pt x="108" y="344"/>
                  </a:lnTo>
                  <a:lnTo>
                    <a:pt x="152" y="344"/>
                  </a:lnTo>
                  <a:lnTo>
                    <a:pt x="152" y="362"/>
                  </a:lnTo>
                  <a:lnTo>
                    <a:pt x="156" y="362"/>
                  </a:lnTo>
                  <a:lnTo>
                    <a:pt x="156" y="370"/>
                  </a:lnTo>
                  <a:lnTo>
                    <a:pt x="158" y="370"/>
                  </a:lnTo>
                  <a:lnTo>
                    <a:pt x="158" y="532"/>
                  </a:lnTo>
                  <a:close/>
                  <a:moveTo>
                    <a:pt x="240" y="532"/>
                  </a:moveTo>
                  <a:lnTo>
                    <a:pt x="238" y="532"/>
                  </a:lnTo>
                  <a:lnTo>
                    <a:pt x="238" y="538"/>
                  </a:lnTo>
                  <a:lnTo>
                    <a:pt x="232" y="538"/>
                  </a:lnTo>
                  <a:lnTo>
                    <a:pt x="232" y="542"/>
                  </a:lnTo>
                  <a:lnTo>
                    <a:pt x="228" y="542"/>
                  </a:lnTo>
                  <a:lnTo>
                    <a:pt x="228" y="546"/>
                  </a:lnTo>
                  <a:lnTo>
                    <a:pt x="224" y="546"/>
                  </a:lnTo>
                  <a:lnTo>
                    <a:pt x="224" y="554"/>
                  </a:lnTo>
                  <a:lnTo>
                    <a:pt x="204" y="554"/>
                  </a:lnTo>
                  <a:lnTo>
                    <a:pt x="204" y="546"/>
                  </a:lnTo>
                  <a:lnTo>
                    <a:pt x="200" y="546"/>
                  </a:lnTo>
                  <a:lnTo>
                    <a:pt x="200" y="542"/>
                  </a:lnTo>
                  <a:lnTo>
                    <a:pt x="196" y="542"/>
                  </a:lnTo>
                  <a:lnTo>
                    <a:pt x="196" y="538"/>
                  </a:lnTo>
                  <a:lnTo>
                    <a:pt x="192" y="538"/>
                  </a:lnTo>
                  <a:lnTo>
                    <a:pt x="192" y="532"/>
                  </a:lnTo>
                  <a:lnTo>
                    <a:pt x="188" y="532"/>
                  </a:lnTo>
                  <a:lnTo>
                    <a:pt x="188" y="370"/>
                  </a:lnTo>
                  <a:lnTo>
                    <a:pt x="190" y="370"/>
                  </a:lnTo>
                  <a:lnTo>
                    <a:pt x="190" y="362"/>
                  </a:lnTo>
                  <a:lnTo>
                    <a:pt x="194" y="362"/>
                  </a:lnTo>
                  <a:lnTo>
                    <a:pt x="194" y="344"/>
                  </a:lnTo>
                  <a:lnTo>
                    <a:pt x="236" y="344"/>
                  </a:lnTo>
                  <a:lnTo>
                    <a:pt x="236" y="362"/>
                  </a:lnTo>
                  <a:lnTo>
                    <a:pt x="238" y="362"/>
                  </a:lnTo>
                  <a:lnTo>
                    <a:pt x="238" y="370"/>
                  </a:lnTo>
                  <a:lnTo>
                    <a:pt x="240" y="370"/>
                  </a:lnTo>
                  <a:lnTo>
                    <a:pt x="240" y="532"/>
                  </a:lnTo>
                  <a:close/>
                  <a:moveTo>
                    <a:pt x="322" y="532"/>
                  </a:moveTo>
                  <a:lnTo>
                    <a:pt x="318" y="532"/>
                  </a:lnTo>
                  <a:lnTo>
                    <a:pt x="318" y="538"/>
                  </a:lnTo>
                  <a:lnTo>
                    <a:pt x="312" y="538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10" y="546"/>
                  </a:lnTo>
                  <a:lnTo>
                    <a:pt x="306" y="546"/>
                  </a:lnTo>
                  <a:lnTo>
                    <a:pt x="306" y="554"/>
                  </a:lnTo>
                  <a:lnTo>
                    <a:pt x="286" y="554"/>
                  </a:lnTo>
                  <a:lnTo>
                    <a:pt x="286" y="546"/>
                  </a:lnTo>
                  <a:lnTo>
                    <a:pt x="282" y="546"/>
                  </a:lnTo>
                  <a:lnTo>
                    <a:pt x="282" y="542"/>
                  </a:lnTo>
                  <a:lnTo>
                    <a:pt x="280" y="542"/>
                  </a:lnTo>
                  <a:lnTo>
                    <a:pt x="280" y="538"/>
                  </a:lnTo>
                  <a:lnTo>
                    <a:pt x="274" y="538"/>
                  </a:lnTo>
                  <a:lnTo>
                    <a:pt x="274" y="532"/>
                  </a:lnTo>
                  <a:lnTo>
                    <a:pt x="270" y="532"/>
                  </a:lnTo>
                  <a:lnTo>
                    <a:pt x="270" y="370"/>
                  </a:lnTo>
                  <a:lnTo>
                    <a:pt x="272" y="370"/>
                  </a:lnTo>
                  <a:lnTo>
                    <a:pt x="272" y="362"/>
                  </a:lnTo>
                  <a:lnTo>
                    <a:pt x="276" y="362"/>
                  </a:lnTo>
                  <a:lnTo>
                    <a:pt x="276" y="344"/>
                  </a:lnTo>
                  <a:lnTo>
                    <a:pt x="316" y="344"/>
                  </a:lnTo>
                  <a:lnTo>
                    <a:pt x="316" y="362"/>
                  </a:lnTo>
                  <a:lnTo>
                    <a:pt x="320" y="362"/>
                  </a:lnTo>
                  <a:lnTo>
                    <a:pt x="320" y="370"/>
                  </a:lnTo>
                  <a:lnTo>
                    <a:pt x="322" y="370"/>
                  </a:lnTo>
                  <a:lnTo>
                    <a:pt x="322" y="532"/>
                  </a:lnTo>
                  <a:close/>
                  <a:moveTo>
                    <a:pt x="570" y="146"/>
                  </a:moveTo>
                  <a:lnTo>
                    <a:pt x="570" y="146"/>
                  </a:lnTo>
                  <a:lnTo>
                    <a:pt x="574" y="164"/>
                  </a:lnTo>
                  <a:lnTo>
                    <a:pt x="574" y="164"/>
                  </a:lnTo>
                  <a:lnTo>
                    <a:pt x="574" y="170"/>
                  </a:lnTo>
                  <a:lnTo>
                    <a:pt x="570" y="176"/>
                  </a:lnTo>
                  <a:lnTo>
                    <a:pt x="562" y="184"/>
                  </a:lnTo>
                  <a:lnTo>
                    <a:pt x="562" y="184"/>
                  </a:lnTo>
                  <a:lnTo>
                    <a:pt x="558" y="186"/>
                  </a:lnTo>
                  <a:lnTo>
                    <a:pt x="556" y="186"/>
                  </a:lnTo>
                  <a:lnTo>
                    <a:pt x="554" y="182"/>
                  </a:lnTo>
                  <a:lnTo>
                    <a:pt x="556" y="174"/>
                  </a:lnTo>
                  <a:lnTo>
                    <a:pt x="556" y="174"/>
                  </a:lnTo>
                  <a:lnTo>
                    <a:pt x="558" y="170"/>
                  </a:lnTo>
                  <a:lnTo>
                    <a:pt x="560" y="166"/>
                  </a:lnTo>
                  <a:lnTo>
                    <a:pt x="562" y="158"/>
                  </a:lnTo>
                  <a:lnTo>
                    <a:pt x="560" y="152"/>
                  </a:lnTo>
                  <a:lnTo>
                    <a:pt x="560" y="15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2" y="128"/>
                  </a:lnTo>
                  <a:lnTo>
                    <a:pt x="540" y="126"/>
                  </a:lnTo>
                  <a:lnTo>
                    <a:pt x="542" y="112"/>
                  </a:lnTo>
                  <a:lnTo>
                    <a:pt x="542" y="112"/>
                  </a:lnTo>
                  <a:lnTo>
                    <a:pt x="544" y="110"/>
                  </a:lnTo>
                  <a:lnTo>
                    <a:pt x="570" y="146"/>
                  </a:lnTo>
                  <a:close/>
                  <a:moveTo>
                    <a:pt x="554" y="166"/>
                  </a:moveTo>
                  <a:lnTo>
                    <a:pt x="554" y="166"/>
                  </a:lnTo>
                  <a:lnTo>
                    <a:pt x="554" y="166"/>
                  </a:lnTo>
                  <a:lnTo>
                    <a:pt x="554" y="166"/>
                  </a:lnTo>
                  <a:lnTo>
                    <a:pt x="550" y="164"/>
                  </a:lnTo>
                  <a:lnTo>
                    <a:pt x="548" y="162"/>
                  </a:lnTo>
                  <a:lnTo>
                    <a:pt x="544" y="162"/>
                  </a:lnTo>
                  <a:lnTo>
                    <a:pt x="536" y="148"/>
                  </a:lnTo>
                  <a:lnTo>
                    <a:pt x="536" y="148"/>
                  </a:lnTo>
                  <a:lnTo>
                    <a:pt x="538" y="148"/>
                  </a:lnTo>
                  <a:lnTo>
                    <a:pt x="544" y="144"/>
                  </a:lnTo>
                  <a:lnTo>
                    <a:pt x="544" y="144"/>
                  </a:lnTo>
                  <a:lnTo>
                    <a:pt x="552" y="150"/>
                  </a:lnTo>
                  <a:lnTo>
                    <a:pt x="556" y="156"/>
                  </a:lnTo>
                  <a:lnTo>
                    <a:pt x="556" y="160"/>
                  </a:lnTo>
                  <a:lnTo>
                    <a:pt x="554" y="166"/>
                  </a:lnTo>
                  <a:lnTo>
                    <a:pt x="554" y="166"/>
                  </a:lnTo>
                  <a:close/>
                  <a:moveTo>
                    <a:pt x="490" y="152"/>
                  </a:moveTo>
                  <a:lnTo>
                    <a:pt x="490" y="152"/>
                  </a:lnTo>
                  <a:lnTo>
                    <a:pt x="496" y="152"/>
                  </a:lnTo>
                  <a:lnTo>
                    <a:pt x="500" y="150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22" y="148"/>
                  </a:lnTo>
                  <a:lnTo>
                    <a:pt x="526" y="164"/>
                  </a:lnTo>
                  <a:lnTo>
                    <a:pt x="522" y="168"/>
                  </a:lnTo>
                  <a:lnTo>
                    <a:pt x="514" y="170"/>
                  </a:lnTo>
                  <a:lnTo>
                    <a:pt x="506" y="174"/>
                  </a:lnTo>
                  <a:lnTo>
                    <a:pt x="506" y="174"/>
                  </a:lnTo>
                  <a:lnTo>
                    <a:pt x="506" y="176"/>
                  </a:lnTo>
                  <a:lnTo>
                    <a:pt x="506" y="176"/>
                  </a:lnTo>
                  <a:lnTo>
                    <a:pt x="496" y="164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close/>
                  <a:moveTo>
                    <a:pt x="462" y="166"/>
                  </a:moveTo>
                  <a:lnTo>
                    <a:pt x="462" y="166"/>
                  </a:lnTo>
                  <a:lnTo>
                    <a:pt x="470" y="158"/>
                  </a:lnTo>
                  <a:lnTo>
                    <a:pt x="502" y="180"/>
                  </a:lnTo>
                  <a:lnTo>
                    <a:pt x="502" y="180"/>
                  </a:lnTo>
                  <a:lnTo>
                    <a:pt x="498" y="184"/>
                  </a:lnTo>
                  <a:lnTo>
                    <a:pt x="498" y="184"/>
                  </a:lnTo>
                  <a:lnTo>
                    <a:pt x="496" y="184"/>
                  </a:lnTo>
                  <a:lnTo>
                    <a:pt x="494" y="184"/>
                  </a:lnTo>
                  <a:lnTo>
                    <a:pt x="490" y="182"/>
                  </a:lnTo>
                  <a:lnTo>
                    <a:pt x="490" y="182"/>
                  </a:lnTo>
                  <a:lnTo>
                    <a:pt x="486" y="178"/>
                  </a:lnTo>
                  <a:lnTo>
                    <a:pt x="480" y="174"/>
                  </a:lnTo>
                  <a:lnTo>
                    <a:pt x="480" y="174"/>
                  </a:lnTo>
                  <a:lnTo>
                    <a:pt x="478" y="174"/>
                  </a:lnTo>
                  <a:lnTo>
                    <a:pt x="474" y="174"/>
                  </a:lnTo>
                  <a:lnTo>
                    <a:pt x="468" y="178"/>
                  </a:lnTo>
                  <a:lnTo>
                    <a:pt x="468" y="178"/>
                  </a:lnTo>
                  <a:lnTo>
                    <a:pt x="464" y="180"/>
                  </a:lnTo>
                  <a:lnTo>
                    <a:pt x="460" y="180"/>
                  </a:lnTo>
                  <a:lnTo>
                    <a:pt x="460" y="180"/>
                  </a:lnTo>
                  <a:lnTo>
                    <a:pt x="460" y="176"/>
                  </a:lnTo>
                  <a:lnTo>
                    <a:pt x="460" y="172"/>
                  </a:lnTo>
                  <a:lnTo>
                    <a:pt x="462" y="166"/>
                  </a:lnTo>
                  <a:lnTo>
                    <a:pt x="462" y="166"/>
                  </a:lnTo>
                  <a:close/>
                  <a:moveTo>
                    <a:pt x="588" y="554"/>
                  </a:moveTo>
                  <a:lnTo>
                    <a:pt x="448" y="554"/>
                  </a:lnTo>
                  <a:lnTo>
                    <a:pt x="448" y="380"/>
                  </a:lnTo>
                  <a:lnTo>
                    <a:pt x="448" y="380"/>
                  </a:lnTo>
                  <a:lnTo>
                    <a:pt x="448" y="370"/>
                  </a:lnTo>
                  <a:lnTo>
                    <a:pt x="452" y="358"/>
                  </a:lnTo>
                  <a:lnTo>
                    <a:pt x="456" y="346"/>
                  </a:lnTo>
                  <a:lnTo>
                    <a:pt x="464" y="336"/>
                  </a:lnTo>
                  <a:lnTo>
                    <a:pt x="472" y="326"/>
                  </a:lnTo>
                  <a:lnTo>
                    <a:pt x="484" y="320"/>
                  </a:lnTo>
                  <a:lnTo>
                    <a:pt x="496" y="314"/>
                  </a:lnTo>
                  <a:lnTo>
                    <a:pt x="510" y="310"/>
                  </a:lnTo>
                  <a:lnTo>
                    <a:pt x="528" y="310"/>
                  </a:lnTo>
                  <a:lnTo>
                    <a:pt x="528" y="310"/>
                  </a:lnTo>
                  <a:lnTo>
                    <a:pt x="542" y="314"/>
                  </a:lnTo>
                  <a:lnTo>
                    <a:pt x="554" y="320"/>
                  </a:lnTo>
                  <a:lnTo>
                    <a:pt x="564" y="326"/>
                  </a:lnTo>
                  <a:lnTo>
                    <a:pt x="574" y="336"/>
                  </a:lnTo>
                  <a:lnTo>
                    <a:pt x="580" y="346"/>
                  </a:lnTo>
                  <a:lnTo>
                    <a:pt x="584" y="358"/>
                  </a:lnTo>
                  <a:lnTo>
                    <a:pt x="588" y="370"/>
                  </a:lnTo>
                  <a:lnTo>
                    <a:pt x="588" y="380"/>
                  </a:lnTo>
                  <a:lnTo>
                    <a:pt x="588" y="380"/>
                  </a:lnTo>
                  <a:lnTo>
                    <a:pt x="588" y="554"/>
                  </a:lnTo>
                  <a:lnTo>
                    <a:pt x="588" y="554"/>
                  </a:lnTo>
                  <a:close/>
                  <a:moveTo>
                    <a:pt x="760" y="532"/>
                  </a:moveTo>
                  <a:lnTo>
                    <a:pt x="758" y="532"/>
                  </a:lnTo>
                  <a:lnTo>
                    <a:pt x="758" y="538"/>
                  </a:lnTo>
                  <a:lnTo>
                    <a:pt x="752" y="538"/>
                  </a:lnTo>
                  <a:lnTo>
                    <a:pt x="752" y="542"/>
                  </a:lnTo>
                  <a:lnTo>
                    <a:pt x="748" y="542"/>
                  </a:lnTo>
                  <a:lnTo>
                    <a:pt x="748" y="546"/>
                  </a:lnTo>
                  <a:lnTo>
                    <a:pt x="744" y="546"/>
                  </a:lnTo>
                  <a:lnTo>
                    <a:pt x="744" y="554"/>
                  </a:lnTo>
                  <a:lnTo>
                    <a:pt x="726" y="554"/>
                  </a:lnTo>
                  <a:lnTo>
                    <a:pt x="726" y="546"/>
                  </a:lnTo>
                  <a:lnTo>
                    <a:pt x="722" y="546"/>
                  </a:lnTo>
                  <a:lnTo>
                    <a:pt x="722" y="542"/>
                  </a:lnTo>
                  <a:lnTo>
                    <a:pt x="718" y="542"/>
                  </a:lnTo>
                  <a:lnTo>
                    <a:pt x="718" y="538"/>
                  </a:lnTo>
                  <a:lnTo>
                    <a:pt x="714" y="538"/>
                  </a:lnTo>
                  <a:lnTo>
                    <a:pt x="714" y="532"/>
                  </a:lnTo>
                  <a:lnTo>
                    <a:pt x="710" y="532"/>
                  </a:lnTo>
                  <a:lnTo>
                    <a:pt x="710" y="370"/>
                  </a:lnTo>
                  <a:lnTo>
                    <a:pt x="712" y="370"/>
                  </a:lnTo>
                  <a:lnTo>
                    <a:pt x="712" y="362"/>
                  </a:lnTo>
                  <a:lnTo>
                    <a:pt x="716" y="362"/>
                  </a:lnTo>
                  <a:lnTo>
                    <a:pt x="716" y="344"/>
                  </a:lnTo>
                  <a:lnTo>
                    <a:pt x="756" y="344"/>
                  </a:lnTo>
                  <a:lnTo>
                    <a:pt x="756" y="362"/>
                  </a:lnTo>
                  <a:lnTo>
                    <a:pt x="758" y="362"/>
                  </a:lnTo>
                  <a:lnTo>
                    <a:pt x="758" y="370"/>
                  </a:lnTo>
                  <a:lnTo>
                    <a:pt x="760" y="370"/>
                  </a:lnTo>
                  <a:lnTo>
                    <a:pt x="760" y="532"/>
                  </a:lnTo>
                  <a:close/>
                  <a:moveTo>
                    <a:pt x="844" y="532"/>
                  </a:moveTo>
                  <a:lnTo>
                    <a:pt x="840" y="532"/>
                  </a:lnTo>
                  <a:lnTo>
                    <a:pt x="840" y="538"/>
                  </a:lnTo>
                  <a:lnTo>
                    <a:pt x="834" y="538"/>
                  </a:lnTo>
                  <a:lnTo>
                    <a:pt x="834" y="542"/>
                  </a:lnTo>
                  <a:lnTo>
                    <a:pt x="832" y="542"/>
                  </a:lnTo>
                  <a:lnTo>
                    <a:pt x="832" y="546"/>
                  </a:lnTo>
                  <a:lnTo>
                    <a:pt x="828" y="546"/>
                  </a:lnTo>
                  <a:lnTo>
                    <a:pt x="828" y="554"/>
                  </a:lnTo>
                  <a:lnTo>
                    <a:pt x="806" y="554"/>
                  </a:lnTo>
                  <a:lnTo>
                    <a:pt x="806" y="546"/>
                  </a:lnTo>
                  <a:lnTo>
                    <a:pt x="802" y="546"/>
                  </a:lnTo>
                  <a:lnTo>
                    <a:pt x="802" y="542"/>
                  </a:lnTo>
                  <a:lnTo>
                    <a:pt x="800" y="542"/>
                  </a:lnTo>
                  <a:lnTo>
                    <a:pt x="800" y="538"/>
                  </a:lnTo>
                  <a:lnTo>
                    <a:pt x="794" y="538"/>
                  </a:lnTo>
                  <a:lnTo>
                    <a:pt x="794" y="532"/>
                  </a:lnTo>
                  <a:lnTo>
                    <a:pt x="790" y="532"/>
                  </a:lnTo>
                  <a:lnTo>
                    <a:pt x="790" y="370"/>
                  </a:lnTo>
                  <a:lnTo>
                    <a:pt x="792" y="370"/>
                  </a:lnTo>
                  <a:lnTo>
                    <a:pt x="792" y="362"/>
                  </a:lnTo>
                  <a:lnTo>
                    <a:pt x="796" y="362"/>
                  </a:lnTo>
                  <a:lnTo>
                    <a:pt x="796" y="344"/>
                  </a:lnTo>
                  <a:lnTo>
                    <a:pt x="838" y="344"/>
                  </a:lnTo>
                  <a:lnTo>
                    <a:pt x="838" y="362"/>
                  </a:lnTo>
                  <a:lnTo>
                    <a:pt x="842" y="362"/>
                  </a:lnTo>
                  <a:lnTo>
                    <a:pt x="842" y="370"/>
                  </a:lnTo>
                  <a:lnTo>
                    <a:pt x="844" y="370"/>
                  </a:lnTo>
                  <a:lnTo>
                    <a:pt x="844" y="532"/>
                  </a:lnTo>
                  <a:close/>
                  <a:moveTo>
                    <a:pt x="928" y="532"/>
                  </a:moveTo>
                  <a:lnTo>
                    <a:pt x="924" y="532"/>
                  </a:lnTo>
                  <a:lnTo>
                    <a:pt x="924" y="538"/>
                  </a:lnTo>
                  <a:lnTo>
                    <a:pt x="920" y="538"/>
                  </a:lnTo>
                  <a:lnTo>
                    <a:pt x="920" y="542"/>
                  </a:lnTo>
                  <a:lnTo>
                    <a:pt x="916" y="542"/>
                  </a:lnTo>
                  <a:lnTo>
                    <a:pt x="916" y="546"/>
                  </a:lnTo>
                  <a:lnTo>
                    <a:pt x="912" y="546"/>
                  </a:lnTo>
                  <a:lnTo>
                    <a:pt x="912" y="554"/>
                  </a:lnTo>
                  <a:lnTo>
                    <a:pt x="890" y="554"/>
                  </a:lnTo>
                  <a:lnTo>
                    <a:pt x="890" y="546"/>
                  </a:lnTo>
                  <a:lnTo>
                    <a:pt x="886" y="546"/>
                  </a:lnTo>
                  <a:lnTo>
                    <a:pt x="886" y="542"/>
                  </a:lnTo>
                  <a:lnTo>
                    <a:pt x="882" y="542"/>
                  </a:lnTo>
                  <a:lnTo>
                    <a:pt x="882" y="538"/>
                  </a:lnTo>
                  <a:lnTo>
                    <a:pt x="876" y="538"/>
                  </a:lnTo>
                  <a:lnTo>
                    <a:pt x="876" y="532"/>
                  </a:lnTo>
                  <a:lnTo>
                    <a:pt x="874" y="532"/>
                  </a:lnTo>
                  <a:lnTo>
                    <a:pt x="874" y="370"/>
                  </a:lnTo>
                  <a:lnTo>
                    <a:pt x="876" y="370"/>
                  </a:lnTo>
                  <a:lnTo>
                    <a:pt x="876" y="362"/>
                  </a:lnTo>
                  <a:lnTo>
                    <a:pt x="878" y="362"/>
                  </a:lnTo>
                  <a:lnTo>
                    <a:pt x="878" y="344"/>
                  </a:lnTo>
                  <a:lnTo>
                    <a:pt x="922" y="344"/>
                  </a:lnTo>
                  <a:lnTo>
                    <a:pt x="922" y="362"/>
                  </a:lnTo>
                  <a:lnTo>
                    <a:pt x="926" y="362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532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23"/>
            <p:cNvSpPr>
              <a:spLocks/>
            </p:cNvSpPr>
            <p:nvPr/>
          </p:nvSpPr>
          <p:spPr bwMode="auto">
            <a:xfrm>
              <a:off x="9304843" y="6109403"/>
              <a:ext cx="42348" cy="37055"/>
            </a:xfrm>
            <a:custGeom>
              <a:avLst/>
              <a:gdLst>
                <a:gd name="T0" fmla="*/ 26 w 32"/>
                <a:gd name="T1" fmla="*/ 6 h 28"/>
                <a:gd name="T2" fmla="*/ 32 w 32"/>
                <a:gd name="T3" fmla="*/ 0 h 28"/>
                <a:gd name="T4" fmla="*/ 32 w 32"/>
                <a:gd name="T5" fmla="*/ 0 h 28"/>
                <a:gd name="T6" fmla="*/ 26 w 32"/>
                <a:gd name="T7" fmla="*/ 0 h 28"/>
                <a:gd name="T8" fmla="*/ 20 w 32"/>
                <a:gd name="T9" fmla="*/ 2 h 28"/>
                <a:gd name="T10" fmla="*/ 18 w 32"/>
                <a:gd name="T11" fmla="*/ 8 h 28"/>
                <a:gd name="T12" fmla="*/ 16 w 32"/>
                <a:gd name="T13" fmla="*/ 14 h 28"/>
                <a:gd name="T14" fmla="*/ 16 w 32"/>
                <a:gd name="T15" fmla="*/ 14 h 28"/>
                <a:gd name="T16" fmla="*/ 12 w 32"/>
                <a:gd name="T17" fmla="*/ 20 h 28"/>
                <a:gd name="T18" fmla="*/ 6 w 32"/>
                <a:gd name="T19" fmla="*/ 22 h 28"/>
                <a:gd name="T20" fmla="*/ 0 w 32"/>
                <a:gd name="T21" fmla="*/ 24 h 28"/>
                <a:gd name="T22" fmla="*/ 0 w 32"/>
                <a:gd name="T23" fmla="*/ 24 h 28"/>
                <a:gd name="T24" fmla="*/ 8 w 32"/>
                <a:gd name="T25" fmla="*/ 28 h 28"/>
                <a:gd name="T26" fmla="*/ 14 w 32"/>
                <a:gd name="T27" fmla="*/ 28 h 28"/>
                <a:gd name="T28" fmla="*/ 18 w 32"/>
                <a:gd name="T29" fmla="*/ 24 h 28"/>
                <a:gd name="T30" fmla="*/ 22 w 32"/>
                <a:gd name="T31" fmla="*/ 20 h 28"/>
                <a:gd name="T32" fmla="*/ 24 w 32"/>
                <a:gd name="T33" fmla="*/ 10 h 28"/>
                <a:gd name="T34" fmla="*/ 26 w 32"/>
                <a:gd name="T35" fmla="*/ 6 h 28"/>
                <a:gd name="T36" fmla="*/ 26 w 32"/>
                <a:gd name="T3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8">
                  <a:moveTo>
                    <a:pt x="26" y="6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20"/>
                  </a:lnTo>
                  <a:lnTo>
                    <a:pt x="6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8" y="24"/>
                  </a:lnTo>
                  <a:lnTo>
                    <a:pt x="22" y="20"/>
                  </a:lnTo>
                  <a:lnTo>
                    <a:pt x="24" y="10"/>
                  </a:lnTo>
                  <a:lnTo>
                    <a:pt x="26" y="6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27"/>
            <p:cNvSpPr>
              <a:spLocks/>
            </p:cNvSpPr>
            <p:nvPr/>
          </p:nvSpPr>
          <p:spPr bwMode="auto">
            <a:xfrm>
              <a:off x="10546837" y="5900738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70878" y="6726459"/>
              <a:ext cx="6678253" cy="198851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73518" y="4453811"/>
            <a:ext cx="4135268" cy="646331"/>
          </a:xfrm>
          <a:prstGeom prst="rect">
            <a:avLst/>
          </a:prstGeom>
          <a:noFill/>
          <a:ln w="28575">
            <a:solidFill>
              <a:srgbClr val="84E0F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 800 </a:t>
            </a:r>
            <a:r>
              <a:rPr lang="ru-RU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3</a:t>
            </a:r>
            <a:r>
              <a:rPr lang="en-US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</a:t>
            </a:r>
            <a:r>
              <a:rPr lang="ru-RU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</a:t>
            </a:r>
            <a:r>
              <a:rPr lang="en-US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3600" spc="7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1 </a:t>
            </a:r>
            <a:r>
              <a:rPr lang="ru-RU" sz="3600" spc="7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00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96486423-D1FD-6A7E-A1ED-E19F133F87FC}"/>
              </a:ext>
            </a:extLst>
          </p:cNvPr>
          <p:cNvGrpSpPr/>
          <p:nvPr/>
        </p:nvGrpSpPr>
        <p:grpSpPr>
          <a:xfrm>
            <a:off x="6129210" y="3564998"/>
            <a:ext cx="5495283" cy="974626"/>
            <a:chOff x="6129210" y="3700410"/>
            <a:chExt cx="5495283" cy="974626"/>
          </a:xfrm>
        </p:grpSpPr>
        <p:sp>
          <p:nvSpPr>
            <p:cNvPr id="48" name="Прямоугольник 47"/>
            <p:cNvSpPr/>
            <p:nvPr/>
          </p:nvSpPr>
          <p:spPr>
            <a:xfrm>
              <a:off x="6129210" y="4196252"/>
              <a:ext cx="2811589" cy="431818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6184826" y="3700410"/>
              <a:ext cx="5439667" cy="97462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3800"/>
                </a:lnSpc>
              </a:pPr>
              <a:r>
                <a:rPr lang="ru-RU" sz="3600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ТГ-канал </a:t>
              </a:r>
              <a:r>
                <a:rPr lang="en-US" sz="3600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/>
              </a:r>
              <a:br>
                <a:rPr lang="en-US" sz="3600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</a:br>
              <a:r>
                <a:rPr lang="ru-RU" sz="3600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МСП Банка</a:t>
              </a:r>
            </a:p>
          </p:txBody>
        </p:sp>
      </p:grpSp>
      <p:pic>
        <p:nvPicPr>
          <p:cNvPr id="2050" name="Picture 2" descr="http://qrcoder.ru/code/?https%3A%2F%2Ft.me%2Fmsp_bank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351" y="4505163"/>
            <a:ext cx="1573553" cy="1573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D609119B-79A8-1C3C-0498-A672803FF712}"/>
              </a:ext>
            </a:extLst>
          </p:cNvPr>
          <p:cNvGrpSpPr/>
          <p:nvPr/>
        </p:nvGrpSpPr>
        <p:grpSpPr>
          <a:xfrm>
            <a:off x="7922596" y="345197"/>
            <a:ext cx="2120767" cy="385214"/>
            <a:chOff x="9808833" y="303241"/>
            <a:chExt cx="2036610" cy="369928"/>
          </a:xfrm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95CFCCDE-4DB5-726E-B1F4-0FBACABAF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38266" y="303241"/>
              <a:ext cx="707177" cy="369928"/>
            </a:xfrm>
            <a:custGeom>
              <a:avLst/>
              <a:gdLst>
                <a:gd name="T0" fmla="*/ 1659 w 7571"/>
                <a:gd name="T1" fmla="*/ 1021 h 3962"/>
                <a:gd name="T2" fmla="*/ 1348 w 7571"/>
                <a:gd name="T3" fmla="*/ 1288 h 3962"/>
                <a:gd name="T4" fmla="*/ 1527 w 7571"/>
                <a:gd name="T5" fmla="*/ 1677 h 3962"/>
                <a:gd name="T6" fmla="*/ 1925 w 7571"/>
                <a:gd name="T7" fmla="*/ 1557 h 3962"/>
                <a:gd name="T8" fmla="*/ 1889 w 7571"/>
                <a:gd name="T9" fmla="*/ 1116 h 3962"/>
                <a:gd name="T10" fmla="*/ 1636 w 7571"/>
                <a:gd name="T11" fmla="*/ 1583 h 3962"/>
                <a:gd name="T12" fmla="*/ 1475 w 7571"/>
                <a:gd name="T13" fmla="*/ 1361 h 3962"/>
                <a:gd name="T14" fmla="*/ 1614 w 7571"/>
                <a:gd name="T15" fmla="*/ 1143 h 3962"/>
                <a:gd name="T16" fmla="*/ 1830 w 7571"/>
                <a:gd name="T17" fmla="*/ 1270 h 3962"/>
                <a:gd name="T18" fmla="*/ 2688 w 7571"/>
                <a:gd name="T19" fmla="*/ 1361 h 3962"/>
                <a:gd name="T20" fmla="*/ 2459 w 7571"/>
                <a:gd name="T21" fmla="*/ 1027 h 3962"/>
                <a:gd name="T22" fmla="*/ 2229 w 7571"/>
                <a:gd name="T23" fmla="*/ 1648 h 3962"/>
                <a:gd name="T24" fmla="*/ 2610 w 7571"/>
                <a:gd name="T25" fmla="*/ 1604 h 3962"/>
                <a:gd name="T26" fmla="*/ 2289 w 7571"/>
                <a:gd name="T27" fmla="*/ 1567 h 3962"/>
                <a:gd name="T28" fmla="*/ 2209 w 7571"/>
                <a:gd name="T29" fmla="*/ 1298 h 3962"/>
                <a:gd name="T30" fmla="*/ 2390 w 7571"/>
                <a:gd name="T31" fmla="*/ 1135 h 3962"/>
                <a:gd name="T32" fmla="*/ 2555 w 7571"/>
                <a:gd name="T33" fmla="*/ 1330 h 3962"/>
                <a:gd name="T34" fmla="*/ 3227 w 7571"/>
                <a:gd name="T35" fmla="*/ 1684 h 3962"/>
                <a:gd name="T36" fmla="*/ 3656 w 7571"/>
                <a:gd name="T37" fmla="*/ 1045 h 3962"/>
                <a:gd name="T38" fmla="*/ 3475 w 7571"/>
                <a:gd name="T39" fmla="*/ 1432 h 3962"/>
                <a:gd name="T40" fmla="*/ 3785 w 7571"/>
                <a:gd name="T41" fmla="*/ 1701 h 3962"/>
                <a:gd name="T42" fmla="*/ 4097 w 7571"/>
                <a:gd name="T43" fmla="*/ 1433 h 3962"/>
                <a:gd name="T44" fmla="*/ 3924 w 7571"/>
                <a:gd name="T45" fmla="*/ 1522 h 3962"/>
                <a:gd name="T46" fmla="*/ 3698 w 7571"/>
                <a:gd name="T47" fmla="*/ 1565 h 3962"/>
                <a:gd name="T48" fmla="*/ 3614 w 7571"/>
                <a:gd name="T49" fmla="*/ 1271 h 3962"/>
                <a:gd name="T50" fmla="*/ 3839 w 7571"/>
                <a:gd name="T51" fmla="*/ 1144 h 3962"/>
                <a:gd name="T52" fmla="*/ 3967 w 7571"/>
                <a:gd name="T53" fmla="*/ 1408 h 3962"/>
                <a:gd name="T54" fmla="*/ 4401 w 7571"/>
                <a:gd name="T55" fmla="*/ 1046 h 3962"/>
                <a:gd name="T56" fmla="*/ 4525 w 7571"/>
                <a:gd name="T57" fmla="*/ 1701 h 3962"/>
                <a:gd name="T58" fmla="*/ 4810 w 7571"/>
                <a:gd name="T59" fmla="*/ 1430 h 3962"/>
                <a:gd name="T60" fmla="*/ 4664 w 7571"/>
                <a:gd name="T61" fmla="*/ 1476 h 3962"/>
                <a:gd name="T62" fmla="*/ 4439 w 7571"/>
                <a:gd name="T63" fmla="*/ 1578 h 3962"/>
                <a:gd name="T64" fmla="*/ 4333 w 7571"/>
                <a:gd name="T65" fmla="*/ 1329 h 3962"/>
                <a:gd name="T66" fmla="*/ 4488 w 7571"/>
                <a:gd name="T67" fmla="*/ 1135 h 3962"/>
                <a:gd name="T68" fmla="*/ 4678 w 7571"/>
                <a:gd name="T69" fmla="*/ 1300 h 3962"/>
                <a:gd name="T70" fmla="*/ 5343 w 7571"/>
                <a:gd name="T71" fmla="*/ 1050 h 3962"/>
                <a:gd name="T72" fmla="*/ 4947 w 7571"/>
                <a:gd name="T73" fmla="*/ 1144 h 3962"/>
                <a:gd name="T74" fmla="*/ 5210 w 7571"/>
                <a:gd name="T75" fmla="*/ 1137 h 3962"/>
                <a:gd name="T76" fmla="*/ 5205 w 7571"/>
                <a:gd name="T77" fmla="*/ 1286 h 3962"/>
                <a:gd name="T78" fmla="*/ 4906 w 7571"/>
                <a:gd name="T79" fmla="*/ 1452 h 3962"/>
                <a:gd name="T80" fmla="*/ 4997 w 7571"/>
                <a:gd name="T81" fmla="*/ 1676 h 3962"/>
                <a:gd name="T82" fmla="*/ 5322 w 7571"/>
                <a:gd name="T83" fmla="*/ 1623 h 3962"/>
                <a:gd name="T84" fmla="*/ 5286 w 7571"/>
                <a:gd name="T85" fmla="*/ 1540 h 3962"/>
                <a:gd name="T86" fmla="*/ 5036 w 7571"/>
                <a:gd name="T87" fmla="*/ 1553 h 3962"/>
                <a:gd name="T88" fmla="*/ 5202 w 7571"/>
                <a:gd name="T89" fmla="*/ 1392 h 3962"/>
                <a:gd name="T90" fmla="*/ 5603 w 7571"/>
                <a:gd name="T91" fmla="*/ 1039 h 3962"/>
                <a:gd name="T92" fmla="*/ 7290 w 7571"/>
                <a:gd name="T93" fmla="*/ 1040 h 3962"/>
                <a:gd name="T94" fmla="*/ 7038 w 7571"/>
                <a:gd name="T95" fmla="*/ 1231 h 3962"/>
                <a:gd name="T96" fmla="*/ 7306 w 7571"/>
                <a:gd name="T97" fmla="*/ 1460 h 3962"/>
                <a:gd name="T98" fmla="*/ 7200 w 7571"/>
                <a:gd name="T99" fmla="*/ 1330 h 3962"/>
                <a:gd name="T100" fmla="*/ 7230 w 7571"/>
                <a:gd name="T101" fmla="*/ 1151 h 3962"/>
                <a:gd name="T102" fmla="*/ 1375 w 7571"/>
                <a:gd name="T103" fmla="*/ 2830 h 3962"/>
                <a:gd name="T104" fmla="*/ 2174 w 7571"/>
                <a:gd name="T105" fmla="*/ 2281 h 3962"/>
                <a:gd name="T106" fmla="*/ 2299 w 7571"/>
                <a:gd name="T107" fmla="*/ 2251 h 3962"/>
                <a:gd name="T108" fmla="*/ 1975 w 7571"/>
                <a:gd name="T109" fmla="*/ 2072 h 3962"/>
                <a:gd name="T110" fmla="*/ 1628 w 7571"/>
                <a:gd name="T111" fmla="*/ 2268 h 3962"/>
                <a:gd name="T112" fmla="*/ 1765 w 7571"/>
                <a:gd name="T113" fmla="*/ 2854 h 3962"/>
                <a:gd name="T114" fmla="*/ 2202 w 7571"/>
                <a:gd name="T115" fmla="*/ 2969 h 3962"/>
                <a:gd name="T116" fmla="*/ 2262 w 7571"/>
                <a:gd name="T117" fmla="*/ 2712 h 3962"/>
                <a:gd name="T118" fmla="*/ 1943 w 7571"/>
                <a:gd name="T119" fmla="*/ 2836 h 3962"/>
                <a:gd name="T120" fmla="*/ 1732 w 7571"/>
                <a:gd name="T121" fmla="*/ 2471 h 3962"/>
                <a:gd name="T122" fmla="*/ 3192 w 7571"/>
                <a:gd name="T123" fmla="*/ 2331 h 3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571" h="3962">
                  <a:moveTo>
                    <a:pt x="764" y="1273"/>
                  </a:moveTo>
                  <a:lnTo>
                    <a:pt x="1147" y="1684"/>
                  </a:lnTo>
                  <a:lnTo>
                    <a:pt x="1307" y="1684"/>
                  </a:lnTo>
                  <a:lnTo>
                    <a:pt x="898" y="1243"/>
                  </a:lnTo>
                  <a:lnTo>
                    <a:pt x="1279" y="824"/>
                  </a:lnTo>
                  <a:lnTo>
                    <a:pt x="1123" y="824"/>
                  </a:lnTo>
                  <a:lnTo>
                    <a:pt x="764" y="1225"/>
                  </a:lnTo>
                  <a:lnTo>
                    <a:pt x="764" y="824"/>
                  </a:lnTo>
                  <a:lnTo>
                    <a:pt x="639" y="824"/>
                  </a:lnTo>
                  <a:lnTo>
                    <a:pt x="639" y="1684"/>
                  </a:lnTo>
                  <a:lnTo>
                    <a:pt x="764" y="1684"/>
                  </a:lnTo>
                  <a:lnTo>
                    <a:pt x="764" y="1273"/>
                  </a:lnTo>
                  <a:close/>
                  <a:moveTo>
                    <a:pt x="1826" y="1064"/>
                  </a:moveTo>
                  <a:lnTo>
                    <a:pt x="1808" y="1055"/>
                  </a:lnTo>
                  <a:lnTo>
                    <a:pt x="1789" y="1046"/>
                  </a:lnTo>
                  <a:lnTo>
                    <a:pt x="1770" y="1039"/>
                  </a:lnTo>
                  <a:lnTo>
                    <a:pt x="1748" y="1032"/>
                  </a:lnTo>
                  <a:lnTo>
                    <a:pt x="1727" y="1027"/>
                  </a:lnTo>
                  <a:lnTo>
                    <a:pt x="1704" y="1024"/>
                  </a:lnTo>
                  <a:lnTo>
                    <a:pt x="1682" y="1021"/>
                  </a:lnTo>
                  <a:lnTo>
                    <a:pt x="1659" y="1021"/>
                  </a:lnTo>
                  <a:lnTo>
                    <a:pt x="1635" y="1021"/>
                  </a:lnTo>
                  <a:lnTo>
                    <a:pt x="1612" y="1024"/>
                  </a:lnTo>
                  <a:lnTo>
                    <a:pt x="1590" y="1027"/>
                  </a:lnTo>
                  <a:lnTo>
                    <a:pt x="1569" y="1032"/>
                  </a:lnTo>
                  <a:lnTo>
                    <a:pt x="1549" y="1037"/>
                  </a:lnTo>
                  <a:lnTo>
                    <a:pt x="1530" y="1045"/>
                  </a:lnTo>
                  <a:lnTo>
                    <a:pt x="1510" y="1053"/>
                  </a:lnTo>
                  <a:lnTo>
                    <a:pt x="1492" y="1064"/>
                  </a:lnTo>
                  <a:lnTo>
                    <a:pt x="1475" y="1075"/>
                  </a:lnTo>
                  <a:lnTo>
                    <a:pt x="1459" y="1088"/>
                  </a:lnTo>
                  <a:lnTo>
                    <a:pt x="1443" y="1100"/>
                  </a:lnTo>
                  <a:lnTo>
                    <a:pt x="1429" y="1115"/>
                  </a:lnTo>
                  <a:lnTo>
                    <a:pt x="1415" y="1130"/>
                  </a:lnTo>
                  <a:lnTo>
                    <a:pt x="1404" y="1147"/>
                  </a:lnTo>
                  <a:lnTo>
                    <a:pt x="1392" y="1164"/>
                  </a:lnTo>
                  <a:lnTo>
                    <a:pt x="1382" y="1184"/>
                  </a:lnTo>
                  <a:lnTo>
                    <a:pt x="1373" y="1203"/>
                  </a:lnTo>
                  <a:lnTo>
                    <a:pt x="1364" y="1223"/>
                  </a:lnTo>
                  <a:lnTo>
                    <a:pt x="1358" y="1245"/>
                  </a:lnTo>
                  <a:lnTo>
                    <a:pt x="1352" y="1266"/>
                  </a:lnTo>
                  <a:lnTo>
                    <a:pt x="1348" y="1288"/>
                  </a:lnTo>
                  <a:lnTo>
                    <a:pt x="1345" y="1312"/>
                  </a:lnTo>
                  <a:lnTo>
                    <a:pt x="1343" y="1336"/>
                  </a:lnTo>
                  <a:lnTo>
                    <a:pt x="1343" y="1361"/>
                  </a:lnTo>
                  <a:lnTo>
                    <a:pt x="1343" y="1385"/>
                  </a:lnTo>
                  <a:lnTo>
                    <a:pt x="1345" y="1410"/>
                  </a:lnTo>
                  <a:lnTo>
                    <a:pt x="1348" y="1432"/>
                  </a:lnTo>
                  <a:lnTo>
                    <a:pt x="1352" y="1455"/>
                  </a:lnTo>
                  <a:lnTo>
                    <a:pt x="1358" y="1477"/>
                  </a:lnTo>
                  <a:lnTo>
                    <a:pt x="1364" y="1499"/>
                  </a:lnTo>
                  <a:lnTo>
                    <a:pt x="1372" y="1519"/>
                  </a:lnTo>
                  <a:lnTo>
                    <a:pt x="1381" y="1538"/>
                  </a:lnTo>
                  <a:lnTo>
                    <a:pt x="1391" y="1556"/>
                  </a:lnTo>
                  <a:lnTo>
                    <a:pt x="1403" y="1574"/>
                  </a:lnTo>
                  <a:lnTo>
                    <a:pt x="1414" y="1590"/>
                  </a:lnTo>
                  <a:lnTo>
                    <a:pt x="1427" y="1606"/>
                  </a:lnTo>
                  <a:lnTo>
                    <a:pt x="1442" y="1621"/>
                  </a:lnTo>
                  <a:lnTo>
                    <a:pt x="1457" y="1634"/>
                  </a:lnTo>
                  <a:lnTo>
                    <a:pt x="1473" y="1647"/>
                  </a:lnTo>
                  <a:lnTo>
                    <a:pt x="1490" y="1659"/>
                  </a:lnTo>
                  <a:lnTo>
                    <a:pt x="1508" y="1668"/>
                  </a:lnTo>
                  <a:lnTo>
                    <a:pt x="1527" y="1677"/>
                  </a:lnTo>
                  <a:lnTo>
                    <a:pt x="1548" y="1684"/>
                  </a:lnTo>
                  <a:lnTo>
                    <a:pt x="1568" y="1691"/>
                  </a:lnTo>
                  <a:lnTo>
                    <a:pt x="1589" y="1696"/>
                  </a:lnTo>
                  <a:lnTo>
                    <a:pt x="1612" y="1699"/>
                  </a:lnTo>
                  <a:lnTo>
                    <a:pt x="1634" y="1701"/>
                  </a:lnTo>
                  <a:lnTo>
                    <a:pt x="1659" y="1701"/>
                  </a:lnTo>
                  <a:lnTo>
                    <a:pt x="1682" y="1701"/>
                  </a:lnTo>
                  <a:lnTo>
                    <a:pt x="1704" y="1699"/>
                  </a:lnTo>
                  <a:lnTo>
                    <a:pt x="1727" y="1696"/>
                  </a:lnTo>
                  <a:lnTo>
                    <a:pt x="1748" y="1691"/>
                  </a:lnTo>
                  <a:lnTo>
                    <a:pt x="1768" y="1685"/>
                  </a:lnTo>
                  <a:lnTo>
                    <a:pt x="1789" y="1678"/>
                  </a:lnTo>
                  <a:lnTo>
                    <a:pt x="1807" y="1668"/>
                  </a:lnTo>
                  <a:lnTo>
                    <a:pt x="1825" y="1659"/>
                  </a:lnTo>
                  <a:lnTo>
                    <a:pt x="1842" y="1647"/>
                  </a:lnTo>
                  <a:lnTo>
                    <a:pt x="1859" y="1635"/>
                  </a:lnTo>
                  <a:lnTo>
                    <a:pt x="1874" y="1621"/>
                  </a:lnTo>
                  <a:lnTo>
                    <a:pt x="1888" y="1607"/>
                  </a:lnTo>
                  <a:lnTo>
                    <a:pt x="1902" y="1591"/>
                  </a:lnTo>
                  <a:lnTo>
                    <a:pt x="1914" y="1574"/>
                  </a:lnTo>
                  <a:lnTo>
                    <a:pt x="1925" y="1557"/>
                  </a:lnTo>
                  <a:lnTo>
                    <a:pt x="1935" y="1538"/>
                  </a:lnTo>
                  <a:lnTo>
                    <a:pt x="1944" y="1519"/>
                  </a:lnTo>
                  <a:lnTo>
                    <a:pt x="1953" y="1499"/>
                  </a:lnTo>
                  <a:lnTo>
                    <a:pt x="1959" y="1477"/>
                  </a:lnTo>
                  <a:lnTo>
                    <a:pt x="1965" y="1456"/>
                  </a:lnTo>
                  <a:lnTo>
                    <a:pt x="1969" y="1433"/>
                  </a:lnTo>
                  <a:lnTo>
                    <a:pt x="1972" y="1410"/>
                  </a:lnTo>
                  <a:lnTo>
                    <a:pt x="1974" y="1385"/>
                  </a:lnTo>
                  <a:lnTo>
                    <a:pt x="1974" y="1361"/>
                  </a:lnTo>
                  <a:lnTo>
                    <a:pt x="1974" y="1336"/>
                  </a:lnTo>
                  <a:lnTo>
                    <a:pt x="1972" y="1313"/>
                  </a:lnTo>
                  <a:lnTo>
                    <a:pt x="1969" y="1289"/>
                  </a:lnTo>
                  <a:lnTo>
                    <a:pt x="1965" y="1267"/>
                  </a:lnTo>
                  <a:lnTo>
                    <a:pt x="1959" y="1246"/>
                  </a:lnTo>
                  <a:lnTo>
                    <a:pt x="1953" y="1224"/>
                  </a:lnTo>
                  <a:lnTo>
                    <a:pt x="1944" y="1204"/>
                  </a:lnTo>
                  <a:lnTo>
                    <a:pt x="1936" y="1185"/>
                  </a:lnTo>
                  <a:lnTo>
                    <a:pt x="1925" y="1167"/>
                  </a:lnTo>
                  <a:lnTo>
                    <a:pt x="1915" y="1148"/>
                  </a:lnTo>
                  <a:lnTo>
                    <a:pt x="1902" y="1132"/>
                  </a:lnTo>
                  <a:lnTo>
                    <a:pt x="1889" y="1116"/>
                  </a:lnTo>
                  <a:lnTo>
                    <a:pt x="1875" y="1102"/>
                  </a:lnTo>
                  <a:lnTo>
                    <a:pt x="1859" y="1089"/>
                  </a:lnTo>
                  <a:lnTo>
                    <a:pt x="1843" y="1076"/>
                  </a:lnTo>
                  <a:lnTo>
                    <a:pt x="1826" y="1064"/>
                  </a:lnTo>
                  <a:close/>
                  <a:moveTo>
                    <a:pt x="1796" y="1522"/>
                  </a:moveTo>
                  <a:lnTo>
                    <a:pt x="1796" y="1522"/>
                  </a:lnTo>
                  <a:lnTo>
                    <a:pt x="1791" y="1530"/>
                  </a:lnTo>
                  <a:lnTo>
                    <a:pt x="1784" y="1536"/>
                  </a:lnTo>
                  <a:lnTo>
                    <a:pt x="1778" y="1543"/>
                  </a:lnTo>
                  <a:lnTo>
                    <a:pt x="1771" y="1549"/>
                  </a:lnTo>
                  <a:lnTo>
                    <a:pt x="1763" y="1555"/>
                  </a:lnTo>
                  <a:lnTo>
                    <a:pt x="1756" y="1559"/>
                  </a:lnTo>
                  <a:lnTo>
                    <a:pt x="1747" y="1565"/>
                  </a:lnTo>
                  <a:lnTo>
                    <a:pt x="1739" y="1569"/>
                  </a:lnTo>
                  <a:lnTo>
                    <a:pt x="1730" y="1572"/>
                  </a:lnTo>
                  <a:lnTo>
                    <a:pt x="1720" y="1575"/>
                  </a:lnTo>
                  <a:lnTo>
                    <a:pt x="1711" y="1579"/>
                  </a:lnTo>
                  <a:lnTo>
                    <a:pt x="1701" y="1581"/>
                  </a:lnTo>
                  <a:lnTo>
                    <a:pt x="1681" y="1583"/>
                  </a:lnTo>
                  <a:lnTo>
                    <a:pt x="1659" y="1584"/>
                  </a:lnTo>
                  <a:lnTo>
                    <a:pt x="1636" y="1583"/>
                  </a:lnTo>
                  <a:lnTo>
                    <a:pt x="1616" y="1581"/>
                  </a:lnTo>
                  <a:lnTo>
                    <a:pt x="1606" y="1579"/>
                  </a:lnTo>
                  <a:lnTo>
                    <a:pt x="1597" y="1575"/>
                  </a:lnTo>
                  <a:lnTo>
                    <a:pt x="1587" y="1572"/>
                  </a:lnTo>
                  <a:lnTo>
                    <a:pt x="1579" y="1569"/>
                  </a:lnTo>
                  <a:lnTo>
                    <a:pt x="1570" y="1565"/>
                  </a:lnTo>
                  <a:lnTo>
                    <a:pt x="1563" y="1560"/>
                  </a:lnTo>
                  <a:lnTo>
                    <a:pt x="1555" y="1555"/>
                  </a:lnTo>
                  <a:lnTo>
                    <a:pt x="1548" y="1550"/>
                  </a:lnTo>
                  <a:lnTo>
                    <a:pt x="1540" y="1544"/>
                  </a:lnTo>
                  <a:lnTo>
                    <a:pt x="1534" y="1538"/>
                  </a:lnTo>
                  <a:lnTo>
                    <a:pt x="1527" y="1531"/>
                  </a:lnTo>
                  <a:lnTo>
                    <a:pt x="1521" y="1523"/>
                  </a:lnTo>
                  <a:lnTo>
                    <a:pt x="1510" y="1507"/>
                  </a:lnTo>
                  <a:lnTo>
                    <a:pt x="1501" y="1490"/>
                  </a:lnTo>
                  <a:lnTo>
                    <a:pt x="1493" y="1472"/>
                  </a:lnTo>
                  <a:lnTo>
                    <a:pt x="1487" y="1453"/>
                  </a:lnTo>
                  <a:lnTo>
                    <a:pt x="1482" y="1431"/>
                  </a:lnTo>
                  <a:lnTo>
                    <a:pt x="1478" y="1409"/>
                  </a:lnTo>
                  <a:lnTo>
                    <a:pt x="1476" y="1385"/>
                  </a:lnTo>
                  <a:lnTo>
                    <a:pt x="1475" y="1361"/>
                  </a:lnTo>
                  <a:lnTo>
                    <a:pt x="1475" y="1345"/>
                  </a:lnTo>
                  <a:lnTo>
                    <a:pt x="1476" y="1329"/>
                  </a:lnTo>
                  <a:lnTo>
                    <a:pt x="1477" y="1314"/>
                  </a:lnTo>
                  <a:lnTo>
                    <a:pt x="1479" y="1299"/>
                  </a:lnTo>
                  <a:lnTo>
                    <a:pt x="1483" y="1285"/>
                  </a:lnTo>
                  <a:lnTo>
                    <a:pt x="1486" y="1271"/>
                  </a:lnTo>
                  <a:lnTo>
                    <a:pt x="1490" y="1258"/>
                  </a:lnTo>
                  <a:lnTo>
                    <a:pt x="1494" y="1246"/>
                  </a:lnTo>
                  <a:lnTo>
                    <a:pt x="1500" y="1233"/>
                  </a:lnTo>
                  <a:lnTo>
                    <a:pt x="1506" y="1222"/>
                  </a:lnTo>
                  <a:lnTo>
                    <a:pt x="1512" y="1211"/>
                  </a:lnTo>
                  <a:lnTo>
                    <a:pt x="1520" y="1201"/>
                  </a:lnTo>
                  <a:lnTo>
                    <a:pt x="1527" y="1191"/>
                  </a:lnTo>
                  <a:lnTo>
                    <a:pt x="1536" y="1183"/>
                  </a:lnTo>
                  <a:lnTo>
                    <a:pt x="1546" y="1174"/>
                  </a:lnTo>
                  <a:lnTo>
                    <a:pt x="1555" y="1167"/>
                  </a:lnTo>
                  <a:lnTo>
                    <a:pt x="1566" y="1160"/>
                  </a:lnTo>
                  <a:lnTo>
                    <a:pt x="1576" y="1155"/>
                  </a:lnTo>
                  <a:lnTo>
                    <a:pt x="1588" y="1150"/>
                  </a:lnTo>
                  <a:lnTo>
                    <a:pt x="1601" y="1145"/>
                  </a:lnTo>
                  <a:lnTo>
                    <a:pt x="1614" y="1143"/>
                  </a:lnTo>
                  <a:lnTo>
                    <a:pt x="1628" y="1140"/>
                  </a:lnTo>
                  <a:lnTo>
                    <a:pt x="1643" y="1139"/>
                  </a:lnTo>
                  <a:lnTo>
                    <a:pt x="1659" y="1139"/>
                  </a:lnTo>
                  <a:lnTo>
                    <a:pt x="1680" y="1140"/>
                  </a:lnTo>
                  <a:lnTo>
                    <a:pt x="1701" y="1142"/>
                  </a:lnTo>
                  <a:lnTo>
                    <a:pt x="1711" y="1144"/>
                  </a:lnTo>
                  <a:lnTo>
                    <a:pt x="1720" y="1147"/>
                  </a:lnTo>
                  <a:lnTo>
                    <a:pt x="1729" y="1151"/>
                  </a:lnTo>
                  <a:lnTo>
                    <a:pt x="1739" y="1154"/>
                  </a:lnTo>
                  <a:lnTo>
                    <a:pt x="1747" y="1158"/>
                  </a:lnTo>
                  <a:lnTo>
                    <a:pt x="1755" y="1162"/>
                  </a:lnTo>
                  <a:lnTo>
                    <a:pt x="1762" y="1168"/>
                  </a:lnTo>
                  <a:lnTo>
                    <a:pt x="1770" y="1173"/>
                  </a:lnTo>
                  <a:lnTo>
                    <a:pt x="1777" y="1178"/>
                  </a:lnTo>
                  <a:lnTo>
                    <a:pt x="1783" y="1185"/>
                  </a:lnTo>
                  <a:lnTo>
                    <a:pt x="1790" y="1192"/>
                  </a:lnTo>
                  <a:lnTo>
                    <a:pt x="1796" y="1200"/>
                  </a:lnTo>
                  <a:lnTo>
                    <a:pt x="1807" y="1215"/>
                  </a:lnTo>
                  <a:lnTo>
                    <a:pt x="1816" y="1232"/>
                  </a:lnTo>
                  <a:lnTo>
                    <a:pt x="1824" y="1251"/>
                  </a:lnTo>
                  <a:lnTo>
                    <a:pt x="1830" y="1270"/>
                  </a:lnTo>
                  <a:lnTo>
                    <a:pt x="1836" y="1290"/>
                  </a:lnTo>
                  <a:lnTo>
                    <a:pt x="1839" y="1313"/>
                  </a:lnTo>
                  <a:lnTo>
                    <a:pt x="1841" y="1336"/>
                  </a:lnTo>
                  <a:lnTo>
                    <a:pt x="1842" y="1361"/>
                  </a:lnTo>
                  <a:lnTo>
                    <a:pt x="1841" y="1385"/>
                  </a:lnTo>
                  <a:lnTo>
                    <a:pt x="1839" y="1408"/>
                  </a:lnTo>
                  <a:lnTo>
                    <a:pt x="1836" y="1429"/>
                  </a:lnTo>
                  <a:lnTo>
                    <a:pt x="1830" y="1451"/>
                  </a:lnTo>
                  <a:lnTo>
                    <a:pt x="1824" y="1470"/>
                  </a:lnTo>
                  <a:lnTo>
                    <a:pt x="1816" y="1488"/>
                  </a:lnTo>
                  <a:lnTo>
                    <a:pt x="1807" y="1506"/>
                  </a:lnTo>
                  <a:lnTo>
                    <a:pt x="1796" y="1522"/>
                  </a:lnTo>
                  <a:close/>
                  <a:moveTo>
                    <a:pt x="2653" y="1535"/>
                  </a:moveTo>
                  <a:lnTo>
                    <a:pt x="2661" y="1516"/>
                  </a:lnTo>
                  <a:lnTo>
                    <a:pt x="2669" y="1495"/>
                  </a:lnTo>
                  <a:lnTo>
                    <a:pt x="2674" y="1474"/>
                  </a:lnTo>
                  <a:lnTo>
                    <a:pt x="2679" y="1453"/>
                  </a:lnTo>
                  <a:lnTo>
                    <a:pt x="2684" y="1430"/>
                  </a:lnTo>
                  <a:lnTo>
                    <a:pt x="2686" y="1408"/>
                  </a:lnTo>
                  <a:lnTo>
                    <a:pt x="2688" y="1384"/>
                  </a:lnTo>
                  <a:lnTo>
                    <a:pt x="2688" y="1361"/>
                  </a:lnTo>
                  <a:lnTo>
                    <a:pt x="2688" y="1336"/>
                  </a:lnTo>
                  <a:lnTo>
                    <a:pt x="2686" y="1314"/>
                  </a:lnTo>
                  <a:lnTo>
                    <a:pt x="2684" y="1290"/>
                  </a:lnTo>
                  <a:lnTo>
                    <a:pt x="2679" y="1269"/>
                  </a:lnTo>
                  <a:lnTo>
                    <a:pt x="2674" y="1248"/>
                  </a:lnTo>
                  <a:lnTo>
                    <a:pt x="2668" y="1226"/>
                  </a:lnTo>
                  <a:lnTo>
                    <a:pt x="2661" y="1206"/>
                  </a:lnTo>
                  <a:lnTo>
                    <a:pt x="2653" y="1187"/>
                  </a:lnTo>
                  <a:lnTo>
                    <a:pt x="2643" y="1168"/>
                  </a:lnTo>
                  <a:lnTo>
                    <a:pt x="2632" y="1151"/>
                  </a:lnTo>
                  <a:lnTo>
                    <a:pt x="2622" y="1134"/>
                  </a:lnTo>
                  <a:lnTo>
                    <a:pt x="2609" y="1119"/>
                  </a:lnTo>
                  <a:lnTo>
                    <a:pt x="2596" y="1104"/>
                  </a:lnTo>
                  <a:lnTo>
                    <a:pt x="2582" y="1090"/>
                  </a:lnTo>
                  <a:lnTo>
                    <a:pt x="2566" y="1077"/>
                  </a:lnTo>
                  <a:lnTo>
                    <a:pt x="2550" y="1065"/>
                  </a:lnTo>
                  <a:lnTo>
                    <a:pt x="2534" y="1056"/>
                  </a:lnTo>
                  <a:lnTo>
                    <a:pt x="2516" y="1046"/>
                  </a:lnTo>
                  <a:lnTo>
                    <a:pt x="2498" y="1039"/>
                  </a:lnTo>
                  <a:lnTo>
                    <a:pt x="2479" y="1032"/>
                  </a:lnTo>
                  <a:lnTo>
                    <a:pt x="2459" y="1027"/>
                  </a:lnTo>
                  <a:lnTo>
                    <a:pt x="2438" y="1024"/>
                  </a:lnTo>
                  <a:lnTo>
                    <a:pt x="2416" y="1021"/>
                  </a:lnTo>
                  <a:lnTo>
                    <a:pt x="2394" y="1021"/>
                  </a:lnTo>
                  <a:lnTo>
                    <a:pt x="2372" y="1021"/>
                  </a:lnTo>
                  <a:lnTo>
                    <a:pt x="2350" y="1024"/>
                  </a:lnTo>
                  <a:lnTo>
                    <a:pt x="2330" y="1027"/>
                  </a:lnTo>
                  <a:lnTo>
                    <a:pt x="2310" y="1032"/>
                  </a:lnTo>
                  <a:lnTo>
                    <a:pt x="2291" y="1039"/>
                  </a:lnTo>
                  <a:lnTo>
                    <a:pt x="2273" y="1046"/>
                  </a:lnTo>
                  <a:lnTo>
                    <a:pt x="2256" y="1056"/>
                  </a:lnTo>
                  <a:lnTo>
                    <a:pt x="2240" y="1065"/>
                  </a:lnTo>
                  <a:lnTo>
                    <a:pt x="2230" y="1073"/>
                  </a:lnTo>
                  <a:lnTo>
                    <a:pt x="2222" y="1080"/>
                  </a:lnTo>
                  <a:lnTo>
                    <a:pt x="2213" y="1089"/>
                  </a:lnTo>
                  <a:lnTo>
                    <a:pt x="2205" y="1097"/>
                  </a:lnTo>
                  <a:lnTo>
                    <a:pt x="2205" y="1039"/>
                  </a:lnTo>
                  <a:lnTo>
                    <a:pt x="2094" y="1039"/>
                  </a:lnTo>
                  <a:lnTo>
                    <a:pt x="2094" y="1970"/>
                  </a:lnTo>
                  <a:lnTo>
                    <a:pt x="2219" y="1970"/>
                  </a:lnTo>
                  <a:lnTo>
                    <a:pt x="2219" y="1637"/>
                  </a:lnTo>
                  <a:lnTo>
                    <a:pt x="2229" y="1648"/>
                  </a:lnTo>
                  <a:lnTo>
                    <a:pt x="2241" y="1657"/>
                  </a:lnTo>
                  <a:lnTo>
                    <a:pt x="2257" y="1667"/>
                  </a:lnTo>
                  <a:lnTo>
                    <a:pt x="2274" y="1677"/>
                  </a:lnTo>
                  <a:lnTo>
                    <a:pt x="2292" y="1684"/>
                  </a:lnTo>
                  <a:lnTo>
                    <a:pt x="2311" y="1691"/>
                  </a:lnTo>
                  <a:lnTo>
                    <a:pt x="2332" y="1696"/>
                  </a:lnTo>
                  <a:lnTo>
                    <a:pt x="2352" y="1699"/>
                  </a:lnTo>
                  <a:lnTo>
                    <a:pt x="2374" y="1701"/>
                  </a:lnTo>
                  <a:lnTo>
                    <a:pt x="2397" y="1701"/>
                  </a:lnTo>
                  <a:lnTo>
                    <a:pt x="2419" y="1701"/>
                  </a:lnTo>
                  <a:lnTo>
                    <a:pt x="2440" y="1699"/>
                  </a:lnTo>
                  <a:lnTo>
                    <a:pt x="2461" y="1696"/>
                  </a:lnTo>
                  <a:lnTo>
                    <a:pt x="2480" y="1691"/>
                  </a:lnTo>
                  <a:lnTo>
                    <a:pt x="2499" y="1684"/>
                  </a:lnTo>
                  <a:lnTo>
                    <a:pt x="2517" y="1677"/>
                  </a:lnTo>
                  <a:lnTo>
                    <a:pt x="2535" y="1667"/>
                  </a:lnTo>
                  <a:lnTo>
                    <a:pt x="2552" y="1657"/>
                  </a:lnTo>
                  <a:lnTo>
                    <a:pt x="2567" y="1646"/>
                  </a:lnTo>
                  <a:lnTo>
                    <a:pt x="2582" y="1633"/>
                  </a:lnTo>
                  <a:lnTo>
                    <a:pt x="2597" y="1619"/>
                  </a:lnTo>
                  <a:lnTo>
                    <a:pt x="2610" y="1604"/>
                  </a:lnTo>
                  <a:lnTo>
                    <a:pt x="2622" y="1588"/>
                  </a:lnTo>
                  <a:lnTo>
                    <a:pt x="2633" y="1571"/>
                  </a:lnTo>
                  <a:lnTo>
                    <a:pt x="2643" y="1554"/>
                  </a:lnTo>
                  <a:lnTo>
                    <a:pt x="2653" y="1535"/>
                  </a:lnTo>
                  <a:close/>
                  <a:moveTo>
                    <a:pt x="2478" y="1558"/>
                  </a:moveTo>
                  <a:lnTo>
                    <a:pt x="2478" y="1558"/>
                  </a:lnTo>
                  <a:lnTo>
                    <a:pt x="2468" y="1566"/>
                  </a:lnTo>
                  <a:lnTo>
                    <a:pt x="2458" y="1572"/>
                  </a:lnTo>
                  <a:lnTo>
                    <a:pt x="2446" y="1578"/>
                  </a:lnTo>
                  <a:lnTo>
                    <a:pt x="2434" y="1582"/>
                  </a:lnTo>
                  <a:lnTo>
                    <a:pt x="2421" y="1585"/>
                  </a:lnTo>
                  <a:lnTo>
                    <a:pt x="2407" y="1587"/>
                  </a:lnTo>
                  <a:lnTo>
                    <a:pt x="2394" y="1588"/>
                  </a:lnTo>
                  <a:lnTo>
                    <a:pt x="2380" y="1589"/>
                  </a:lnTo>
                  <a:lnTo>
                    <a:pt x="2364" y="1588"/>
                  </a:lnTo>
                  <a:lnTo>
                    <a:pt x="2350" y="1587"/>
                  </a:lnTo>
                  <a:lnTo>
                    <a:pt x="2336" y="1585"/>
                  </a:lnTo>
                  <a:lnTo>
                    <a:pt x="2323" y="1582"/>
                  </a:lnTo>
                  <a:lnTo>
                    <a:pt x="2311" y="1578"/>
                  </a:lnTo>
                  <a:lnTo>
                    <a:pt x="2300" y="1572"/>
                  </a:lnTo>
                  <a:lnTo>
                    <a:pt x="2289" y="1567"/>
                  </a:lnTo>
                  <a:lnTo>
                    <a:pt x="2279" y="1559"/>
                  </a:lnTo>
                  <a:lnTo>
                    <a:pt x="2270" y="1552"/>
                  </a:lnTo>
                  <a:lnTo>
                    <a:pt x="2261" y="1543"/>
                  </a:lnTo>
                  <a:lnTo>
                    <a:pt x="2253" y="1535"/>
                  </a:lnTo>
                  <a:lnTo>
                    <a:pt x="2245" y="1525"/>
                  </a:lnTo>
                  <a:lnTo>
                    <a:pt x="2239" y="1515"/>
                  </a:lnTo>
                  <a:lnTo>
                    <a:pt x="2232" y="1504"/>
                  </a:lnTo>
                  <a:lnTo>
                    <a:pt x="2227" y="1491"/>
                  </a:lnTo>
                  <a:lnTo>
                    <a:pt x="2222" y="1479"/>
                  </a:lnTo>
                  <a:lnTo>
                    <a:pt x="2218" y="1467"/>
                  </a:lnTo>
                  <a:lnTo>
                    <a:pt x="2214" y="1453"/>
                  </a:lnTo>
                  <a:lnTo>
                    <a:pt x="2211" y="1439"/>
                  </a:lnTo>
                  <a:lnTo>
                    <a:pt x="2209" y="1424"/>
                  </a:lnTo>
                  <a:lnTo>
                    <a:pt x="2207" y="1409"/>
                  </a:lnTo>
                  <a:lnTo>
                    <a:pt x="2206" y="1393"/>
                  </a:lnTo>
                  <a:lnTo>
                    <a:pt x="2205" y="1377"/>
                  </a:lnTo>
                  <a:lnTo>
                    <a:pt x="2205" y="1361"/>
                  </a:lnTo>
                  <a:lnTo>
                    <a:pt x="2205" y="1345"/>
                  </a:lnTo>
                  <a:lnTo>
                    <a:pt x="2206" y="1329"/>
                  </a:lnTo>
                  <a:lnTo>
                    <a:pt x="2207" y="1313"/>
                  </a:lnTo>
                  <a:lnTo>
                    <a:pt x="2209" y="1298"/>
                  </a:lnTo>
                  <a:lnTo>
                    <a:pt x="2211" y="1283"/>
                  </a:lnTo>
                  <a:lnTo>
                    <a:pt x="2214" y="1269"/>
                  </a:lnTo>
                  <a:lnTo>
                    <a:pt x="2219" y="1255"/>
                  </a:lnTo>
                  <a:lnTo>
                    <a:pt x="2223" y="1242"/>
                  </a:lnTo>
                  <a:lnTo>
                    <a:pt x="2227" y="1230"/>
                  </a:lnTo>
                  <a:lnTo>
                    <a:pt x="2232" y="1218"/>
                  </a:lnTo>
                  <a:lnTo>
                    <a:pt x="2239" y="1207"/>
                  </a:lnTo>
                  <a:lnTo>
                    <a:pt x="2245" y="1196"/>
                  </a:lnTo>
                  <a:lnTo>
                    <a:pt x="2253" y="1187"/>
                  </a:lnTo>
                  <a:lnTo>
                    <a:pt x="2261" y="1178"/>
                  </a:lnTo>
                  <a:lnTo>
                    <a:pt x="2270" y="1170"/>
                  </a:lnTo>
                  <a:lnTo>
                    <a:pt x="2278" y="1162"/>
                  </a:lnTo>
                  <a:lnTo>
                    <a:pt x="2288" y="1156"/>
                  </a:lnTo>
                  <a:lnTo>
                    <a:pt x="2299" y="1150"/>
                  </a:lnTo>
                  <a:lnTo>
                    <a:pt x="2310" y="1145"/>
                  </a:lnTo>
                  <a:lnTo>
                    <a:pt x="2322" y="1141"/>
                  </a:lnTo>
                  <a:lnTo>
                    <a:pt x="2334" y="1138"/>
                  </a:lnTo>
                  <a:lnTo>
                    <a:pt x="2347" y="1136"/>
                  </a:lnTo>
                  <a:lnTo>
                    <a:pt x="2360" y="1135"/>
                  </a:lnTo>
                  <a:lnTo>
                    <a:pt x="2375" y="1134"/>
                  </a:lnTo>
                  <a:lnTo>
                    <a:pt x="2390" y="1135"/>
                  </a:lnTo>
                  <a:lnTo>
                    <a:pt x="2404" y="1136"/>
                  </a:lnTo>
                  <a:lnTo>
                    <a:pt x="2418" y="1138"/>
                  </a:lnTo>
                  <a:lnTo>
                    <a:pt x="2432" y="1142"/>
                  </a:lnTo>
                  <a:lnTo>
                    <a:pt x="2444" y="1146"/>
                  </a:lnTo>
                  <a:lnTo>
                    <a:pt x="2455" y="1151"/>
                  </a:lnTo>
                  <a:lnTo>
                    <a:pt x="2467" y="1157"/>
                  </a:lnTo>
                  <a:lnTo>
                    <a:pt x="2477" y="1164"/>
                  </a:lnTo>
                  <a:lnTo>
                    <a:pt x="2486" y="1172"/>
                  </a:lnTo>
                  <a:lnTo>
                    <a:pt x="2496" y="1180"/>
                  </a:lnTo>
                  <a:lnTo>
                    <a:pt x="2504" y="1190"/>
                  </a:lnTo>
                  <a:lnTo>
                    <a:pt x="2512" y="1200"/>
                  </a:lnTo>
                  <a:lnTo>
                    <a:pt x="2519" y="1210"/>
                  </a:lnTo>
                  <a:lnTo>
                    <a:pt x="2526" y="1222"/>
                  </a:lnTo>
                  <a:lnTo>
                    <a:pt x="2531" y="1234"/>
                  </a:lnTo>
                  <a:lnTo>
                    <a:pt x="2536" y="1247"/>
                  </a:lnTo>
                  <a:lnTo>
                    <a:pt x="2541" y="1259"/>
                  </a:lnTo>
                  <a:lnTo>
                    <a:pt x="2545" y="1272"/>
                  </a:lnTo>
                  <a:lnTo>
                    <a:pt x="2548" y="1286"/>
                  </a:lnTo>
                  <a:lnTo>
                    <a:pt x="2551" y="1300"/>
                  </a:lnTo>
                  <a:lnTo>
                    <a:pt x="2554" y="1315"/>
                  </a:lnTo>
                  <a:lnTo>
                    <a:pt x="2555" y="1330"/>
                  </a:lnTo>
                  <a:lnTo>
                    <a:pt x="2556" y="1345"/>
                  </a:lnTo>
                  <a:lnTo>
                    <a:pt x="2556" y="1361"/>
                  </a:lnTo>
                  <a:lnTo>
                    <a:pt x="2556" y="1377"/>
                  </a:lnTo>
                  <a:lnTo>
                    <a:pt x="2555" y="1392"/>
                  </a:lnTo>
                  <a:lnTo>
                    <a:pt x="2554" y="1407"/>
                  </a:lnTo>
                  <a:lnTo>
                    <a:pt x="2551" y="1422"/>
                  </a:lnTo>
                  <a:lnTo>
                    <a:pt x="2548" y="1436"/>
                  </a:lnTo>
                  <a:lnTo>
                    <a:pt x="2545" y="1449"/>
                  </a:lnTo>
                  <a:lnTo>
                    <a:pt x="2541" y="1463"/>
                  </a:lnTo>
                  <a:lnTo>
                    <a:pt x="2536" y="1476"/>
                  </a:lnTo>
                  <a:lnTo>
                    <a:pt x="2531" y="1489"/>
                  </a:lnTo>
                  <a:lnTo>
                    <a:pt x="2526" y="1501"/>
                  </a:lnTo>
                  <a:lnTo>
                    <a:pt x="2519" y="1512"/>
                  </a:lnTo>
                  <a:lnTo>
                    <a:pt x="2512" y="1523"/>
                  </a:lnTo>
                  <a:lnTo>
                    <a:pt x="2504" y="1533"/>
                  </a:lnTo>
                  <a:lnTo>
                    <a:pt x="2496" y="1542"/>
                  </a:lnTo>
                  <a:lnTo>
                    <a:pt x="2487" y="1551"/>
                  </a:lnTo>
                  <a:lnTo>
                    <a:pt x="2478" y="1558"/>
                  </a:lnTo>
                  <a:close/>
                  <a:moveTo>
                    <a:pt x="2932" y="1157"/>
                  </a:moveTo>
                  <a:lnTo>
                    <a:pt x="3227" y="1157"/>
                  </a:lnTo>
                  <a:lnTo>
                    <a:pt x="3227" y="1684"/>
                  </a:lnTo>
                  <a:lnTo>
                    <a:pt x="3350" y="1684"/>
                  </a:lnTo>
                  <a:lnTo>
                    <a:pt x="3350" y="1039"/>
                  </a:lnTo>
                  <a:lnTo>
                    <a:pt x="2807" y="1039"/>
                  </a:lnTo>
                  <a:lnTo>
                    <a:pt x="2807" y="1684"/>
                  </a:lnTo>
                  <a:lnTo>
                    <a:pt x="2932" y="1684"/>
                  </a:lnTo>
                  <a:lnTo>
                    <a:pt x="2932" y="1157"/>
                  </a:lnTo>
                  <a:close/>
                  <a:moveTo>
                    <a:pt x="3954" y="1064"/>
                  </a:moveTo>
                  <a:lnTo>
                    <a:pt x="3936" y="1055"/>
                  </a:lnTo>
                  <a:lnTo>
                    <a:pt x="3917" y="1046"/>
                  </a:lnTo>
                  <a:lnTo>
                    <a:pt x="3896" y="1039"/>
                  </a:lnTo>
                  <a:lnTo>
                    <a:pt x="3876" y="1032"/>
                  </a:lnTo>
                  <a:lnTo>
                    <a:pt x="3855" y="1027"/>
                  </a:lnTo>
                  <a:lnTo>
                    <a:pt x="3832" y="1024"/>
                  </a:lnTo>
                  <a:lnTo>
                    <a:pt x="3810" y="1021"/>
                  </a:lnTo>
                  <a:lnTo>
                    <a:pt x="3785" y="1021"/>
                  </a:lnTo>
                  <a:lnTo>
                    <a:pt x="3762" y="1021"/>
                  </a:lnTo>
                  <a:lnTo>
                    <a:pt x="3740" y="1024"/>
                  </a:lnTo>
                  <a:lnTo>
                    <a:pt x="3718" y="1027"/>
                  </a:lnTo>
                  <a:lnTo>
                    <a:pt x="3697" y="1032"/>
                  </a:lnTo>
                  <a:lnTo>
                    <a:pt x="3677" y="1037"/>
                  </a:lnTo>
                  <a:lnTo>
                    <a:pt x="3656" y="1045"/>
                  </a:lnTo>
                  <a:lnTo>
                    <a:pt x="3638" y="1053"/>
                  </a:lnTo>
                  <a:lnTo>
                    <a:pt x="3620" y="1064"/>
                  </a:lnTo>
                  <a:lnTo>
                    <a:pt x="3603" y="1075"/>
                  </a:lnTo>
                  <a:lnTo>
                    <a:pt x="3586" y="1088"/>
                  </a:lnTo>
                  <a:lnTo>
                    <a:pt x="3571" y="1100"/>
                  </a:lnTo>
                  <a:lnTo>
                    <a:pt x="3557" y="1115"/>
                  </a:lnTo>
                  <a:lnTo>
                    <a:pt x="3543" y="1130"/>
                  </a:lnTo>
                  <a:lnTo>
                    <a:pt x="3532" y="1147"/>
                  </a:lnTo>
                  <a:lnTo>
                    <a:pt x="3520" y="1164"/>
                  </a:lnTo>
                  <a:lnTo>
                    <a:pt x="3509" y="1184"/>
                  </a:lnTo>
                  <a:lnTo>
                    <a:pt x="3501" y="1203"/>
                  </a:lnTo>
                  <a:lnTo>
                    <a:pt x="3492" y="1223"/>
                  </a:lnTo>
                  <a:lnTo>
                    <a:pt x="3486" y="1245"/>
                  </a:lnTo>
                  <a:lnTo>
                    <a:pt x="3480" y="1266"/>
                  </a:lnTo>
                  <a:lnTo>
                    <a:pt x="3476" y="1288"/>
                  </a:lnTo>
                  <a:lnTo>
                    <a:pt x="3473" y="1312"/>
                  </a:lnTo>
                  <a:lnTo>
                    <a:pt x="3471" y="1336"/>
                  </a:lnTo>
                  <a:lnTo>
                    <a:pt x="3470" y="1361"/>
                  </a:lnTo>
                  <a:lnTo>
                    <a:pt x="3471" y="1385"/>
                  </a:lnTo>
                  <a:lnTo>
                    <a:pt x="3473" y="1410"/>
                  </a:lnTo>
                  <a:lnTo>
                    <a:pt x="3475" y="1432"/>
                  </a:lnTo>
                  <a:lnTo>
                    <a:pt x="3479" y="1455"/>
                  </a:lnTo>
                  <a:lnTo>
                    <a:pt x="3485" y="1477"/>
                  </a:lnTo>
                  <a:lnTo>
                    <a:pt x="3492" y="1499"/>
                  </a:lnTo>
                  <a:lnTo>
                    <a:pt x="3500" y="1519"/>
                  </a:lnTo>
                  <a:lnTo>
                    <a:pt x="3508" y="1538"/>
                  </a:lnTo>
                  <a:lnTo>
                    <a:pt x="3519" y="1556"/>
                  </a:lnTo>
                  <a:lnTo>
                    <a:pt x="3529" y="1574"/>
                  </a:lnTo>
                  <a:lnTo>
                    <a:pt x="3542" y="1590"/>
                  </a:lnTo>
                  <a:lnTo>
                    <a:pt x="3555" y="1606"/>
                  </a:lnTo>
                  <a:lnTo>
                    <a:pt x="3569" y="1621"/>
                  </a:lnTo>
                  <a:lnTo>
                    <a:pt x="3585" y="1634"/>
                  </a:lnTo>
                  <a:lnTo>
                    <a:pt x="3601" y="1647"/>
                  </a:lnTo>
                  <a:lnTo>
                    <a:pt x="3618" y="1659"/>
                  </a:lnTo>
                  <a:lnTo>
                    <a:pt x="3636" y="1668"/>
                  </a:lnTo>
                  <a:lnTo>
                    <a:pt x="3655" y="1677"/>
                  </a:lnTo>
                  <a:lnTo>
                    <a:pt x="3675" y="1684"/>
                  </a:lnTo>
                  <a:lnTo>
                    <a:pt x="3696" y="1691"/>
                  </a:lnTo>
                  <a:lnTo>
                    <a:pt x="3717" y="1696"/>
                  </a:lnTo>
                  <a:lnTo>
                    <a:pt x="3740" y="1699"/>
                  </a:lnTo>
                  <a:lnTo>
                    <a:pt x="3762" y="1701"/>
                  </a:lnTo>
                  <a:lnTo>
                    <a:pt x="3785" y="1701"/>
                  </a:lnTo>
                  <a:lnTo>
                    <a:pt x="3810" y="1701"/>
                  </a:lnTo>
                  <a:lnTo>
                    <a:pt x="3832" y="1699"/>
                  </a:lnTo>
                  <a:lnTo>
                    <a:pt x="3855" y="1696"/>
                  </a:lnTo>
                  <a:lnTo>
                    <a:pt x="3876" y="1691"/>
                  </a:lnTo>
                  <a:lnTo>
                    <a:pt x="3896" y="1685"/>
                  </a:lnTo>
                  <a:lnTo>
                    <a:pt x="3916" y="1678"/>
                  </a:lnTo>
                  <a:lnTo>
                    <a:pt x="3935" y="1668"/>
                  </a:lnTo>
                  <a:lnTo>
                    <a:pt x="3953" y="1659"/>
                  </a:lnTo>
                  <a:lnTo>
                    <a:pt x="3970" y="1647"/>
                  </a:lnTo>
                  <a:lnTo>
                    <a:pt x="3986" y="1635"/>
                  </a:lnTo>
                  <a:lnTo>
                    <a:pt x="4002" y="1621"/>
                  </a:lnTo>
                  <a:lnTo>
                    <a:pt x="4016" y="1607"/>
                  </a:lnTo>
                  <a:lnTo>
                    <a:pt x="4030" y="1591"/>
                  </a:lnTo>
                  <a:lnTo>
                    <a:pt x="4041" y="1574"/>
                  </a:lnTo>
                  <a:lnTo>
                    <a:pt x="4053" y="1557"/>
                  </a:lnTo>
                  <a:lnTo>
                    <a:pt x="4063" y="1538"/>
                  </a:lnTo>
                  <a:lnTo>
                    <a:pt x="4072" y="1519"/>
                  </a:lnTo>
                  <a:lnTo>
                    <a:pt x="4080" y="1499"/>
                  </a:lnTo>
                  <a:lnTo>
                    <a:pt x="4087" y="1477"/>
                  </a:lnTo>
                  <a:lnTo>
                    <a:pt x="4093" y="1456"/>
                  </a:lnTo>
                  <a:lnTo>
                    <a:pt x="4097" y="1433"/>
                  </a:lnTo>
                  <a:lnTo>
                    <a:pt x="4100" y="1410"/>
                  </a:lnTo>
                  <a:lnTo>
                    <a:pt x="4101" y="1385"/>
                  </a:lnTo>
                  <a:lnTo>
                    <a:pt x="4102" y="1361"/>
                  </a:lnTo>
                  <a:lnTo>
                    <a:pt x="4101" y="1336"/>
                  </a:lnTo>
                  <a:lnTo>
                    <a:pt x="4100" y="1313"/>
                  </a:lnTo>
                  <a:lnTo>
                    <a:pt x="4097" y="1289"/>
                  </a:lnTo>
                  <a:lnTo>
                    <a:pt x="4093" y="1267"/>
                  </a:lnTo>
                  <a:lnTo>
                    <a:pt x="4087" y="1246"/>
                  </a:lnTo>
                  <a:lnTo>
                    <a:pt x="4080" y="1224"/>
                  </a:lnTo>
                  <a:lnTo>
                    <a:pt x="4072" y="1204"/>
                  </a:lnTo>
                  <a:lnTo>
                    <a:pt x="4064" y="1185"/>
                  </a:lnTo>
                  <a:lnTo>
                    <a:pt x="4053" y="1167"/>
                  </a:lnTo>
                  <a:lnTo>
                    <a:pt x="4041" y="1148"/>
                  </a:lnTo>
                  <a:lnTo>
                    <a:pt x="4030" y="1132"/>
                  </a:lnTo>
                  <a:lnTo>
                    <a:pt x="4017" y="1116"/>
                  </a:lnTo>
                  <a:lnTo>
                    <a:pt x="4002" y="1102"/>
                  </a:lnTo>
                  <a:lnTo>
                    <a:pt x="3987" y="1089"/>
                  </a:lnTo>
                  <a:lnTo>
                    <a:pt x="3971" y="1076"/>
                  </a:lnTo>
                  <a:lnTo>
                    <a:pt x="3954" y="1064"/>
                  </a:lnTo>
                  <a:close/>
                  <a:moveTo>
                    <a:pt x="3924" y="1522"/>
                  </a:moveTo>
                  <a:lnTo>
                    <a:pt x="3924" y="1522"/>
                  </a:lnTo>
                  <a:lnTo>
                    <a:pt x="3918" y="1530"/>
                  </a:lnTo>
                  <a:lnTo>
                    <a:pt x="3912" y="1536"/>
                  </a:lnTo>
                  <a:lnTo>
                    <a:pt x="3905" y="1543"/>
                  </a:lnTo>
                  <a:lnTo>
                    <a:pt x="3899" y="1549"/>
                  </a:lnTo>
                  <a:lnTo>
                    <a:pt x="3891" y="1555"/>
                  </a:lnTo>
                  <a:lnTo>
                    <a:pt x="3884" y="1559"/>
                  </a:lnTo>
                  <a:lnTo>
                    <a:pt x="3875" y="1565"/>
                  </a:lnTo>
                  <a:lnTo>
                    <a:pt x="3867" y="1569"/>
                  </a:lnTo>
                  <a:lnTo>
                    <a:pt x="3858" y="1572"/>
                  </a:lnTo>
                  <a:lnTo>
                    <a:pt x="3848" y="1575"/>
                  </a:lnTo>
                  <a:lnTo>
                    <a:pt x="3839" y="1579"/>
                  </a:lnTo>
                  <a:lnTo>
                    <a:pt x="3829" y="1581"/>
                  </a:lnTo>
                  <a:lnTo>
                    <a:pt x="3808" y="1583"/>
                  </a:lnTo>
                  <a:lnTo>
                    <a:pt x="3785" y="1584"/>
                  </a:lnTo>
                  <a:lnTo>
                    <a:pt x="3764" y="1583"/>
                  </a:lnTo>
                  <a:lnTo>
                    <a:pt x="3744" y="1581"/>
                  </a:lnTo>
                  <a:lnTo>
                    <a:pt x="3734" y="1579"/>
                  </a:lnTo>
                  <a:lnTo>
                    <a:pt x="3725" y="1575"/>
                  </a:lnTo>
                  <a:lnTo>
                    <a:pt x="3715" y="1572"/>
                  </a:lnTo>
                  <a:lnTo>
                    <a:pt x="3707" y="1569"/>
                  </a:lnTo>
                  <a:lnTo>
                    <a:pt x="3698" y="1565"/>
                  </a:lnTo>
                  <a:lnTo>
                    <a:pt x="3691" y="1560"/>
                  </a:lnTo>
                  <a:lnTo>
                    <a:pt x="3682" y="1555"/>
                  </a:lnTo>
                  <a:lnTo>
                    <a:pt x="3676" y="1550"/>
                  </a:lnTo>
                  <a:lnTo>
                    <a:pt x="3668" y="1544"/>
                  </a:lnTo>
                  <a:lnTo>
                    <a:pt x="3662" y="1538"/>
                  </a:lnTo>
                  <a:lnTo>
                    <a:pt x="3655" y="1531"/>
                  </a:lnTo>
                  <a:lnTo>
                    <a:pt x="3649" y="1523"/>
                  </a:lnTo>
                  <a:lnTo>
                    <a:pt x="3638" y="1507"/>
                  </a:lnTo>
                  <a:lnTo>
                    <a:pt x="3629" y="1490"/>
                  </a:lnTo>
                  <a:lnTo>
                    <a:pt x="3621" y="1472"/>
                  </a:lnTo>
                  <a:lnTo>
                    <a:pt x="3614" y="1453"/>
                  </a:lnTo>
                  <a:lnTo>
                    <a:pt x="3609" y="1431"/>
                  </a:lnTo>
                  <a:lnTo>
                    <a:pt x="3605" y="1409"/>
                  </a:lnTo>
                  <a:lnTo>
                    <a:pt x="3603" y="1385"/>
                  </a:lnTo>
                  <a:lnTo>
                    <a:pt x="3603" y="1361"/>
                  </a:lnTo>
                  <a:lnTo>
                    <a:pt x="3603" y="1345"/>
                  </a:lnTo>
                  <a:lnTo>
                    <a:pt x="3604" y="1329"/>
                  </a:lnTo>
                  <a:lnTo>
                    <a:pt x="3605" y="1314"/>
                  </a:lnTo>
                  <a:lnTo>
                    <a:pt x="3607" y="1299"/>
                  </a:lnTo>
                  <a:lnTo>
                    <a:pt x="3611" y="1285"/>
                  </a:lnTo>
                  <a:lnTo>
                    <a:pt x="3614" y="1271"/>
                  </a:lnTo>
                  <a:lnTo>
                    <a:pt x="3618" y="1258"/>
                  </a:lnTo>
                  <a:lnTo>
                    <a:pt x="3622" y="1246"/>
                  </a:lnTo>
                  <a:lnTo>
                    <a:pt x="3628" y="1233"/>
                  </a:lnTo>
                  <a:lnTo>
                    <a:pt x="3634" y="1222"/>
                  </a:lnTo>
                  <a:lnTo>
                    <a:pt x="3640" y="1211"/>
                  </a:lnTo>
                  <a:lnTo>
                    <a:pt x="3647" y="1201"/>
                  </a:lnTo>
                  <a:lnTo>
                    <a:pt x="3655" y="1191"/>
                  </a:lnTo>
                  <a:lnTo>
                    <a:pt x="3664" y="1183"/>
                  </a:lnTo>
                  <a:lnTo>
                    <a:pt x="3672" y="1174"/>
                  </a:lnTo>
                  <a:lnTo>
                    <a:pt x="3683" y="1167"/>
                  </a:lnTo>
                  <a:lnTo>
                    <a:pt x="3693" y="1160"/>
                  </a:lnTo>
                  <a:lnTo>
                    <a:pt x="3704" y="1155"/>
                  </a:lnTo>
                  <a:lnTo>
                    <a:pt x="3716" y="1150"/>
                  </a:lnTo>
                  <a:lnTo>
                    <a:pt x="3729" y="1145"/>
                  </a:lnTo>
                  <a:lnTo>
                    <a:pt x="3742" y="1143"/>
                  </a:lnTo>
                  <a:lnTo>
                    <a:pt x="3756" y="1140"/>
                  </a:lnTo>
                  <a:lnTo>
                    <a:pt x="3771" y="1139"/>
                  </a:lnTo>
                  <a:lnTo>
                    <a:pt x="3785" y="1139"/>
                  </a:lnTo>
                  <a:lnTo>
                    <a:pt x="3808" y="1140"/>
                  </a:lnTo>
                  <a:lnTo>
                    <a:pt x="3829" y="1142"/>
                  </a:lnTo>
                  <a:lnTo>
                    <a:pt x="3839" y="1144"/>
                  </a:lnTo>
                  <a:lnTo>
                    <a:pt x="3848" y="1147"/>
                  </a:lnTo>
                  <a:lnTo>
                    <a:pt x="3857" y="1151"/>
                  </a:lnTo>
                  <a:lnTo>
                    <a:pt x="3865" y="1154"/>
                  </a:lnTo>
                  <a:lnTo>
                    <a:pt x="3874" y="1158"/>
                  </a:lnTo>
                  <a:lnTo>
                    <a:pt x="3883" y="1162"/>
                  </a:lnTo>
                  <a:lnTo>
                    <a:pt x="3890" y="1168"/>
                  </a:lnTo>
                  <a:lnTo>
                    <a:pt x="3897" y="1173"/>
                  </a:lnTo>
                  <a:lnTo>
                    <a:pt x="3905" y="1178"/>
                  </a:lnTo>
                  <a:lnTo>
                    <a:pt x="3911" y="1185"/>
                  </a:lnTo>
                  <a:lnTo>
                    <a:pt x="3918" y="1192"/>
                  </a:lnTo>
                  <a:lnTo>
                    <a:pt x="3923" y="1200"/>
                  </a:lnTo>
                  <a:lnTo>
                    <a:pt x="3934" y="1215"/>
                  </a:lnTo>
                  <a:lnTo>
                    <a:pt x="3943" y="1232"/>
                  </a:lnTo>
                  <a:lnTo>
                    <a:pt x="3952" y="1251"/>
                  </a:lnTo>
                  <a:lnTo>
                    <a:pt x="3958" y="1270"/>
                  </a:lnTo>
                  <a:lnTo>
                    <a:pt x="3964" y="1290"/>
                  </a:lnTo>
                  <a:lnTo>
                    <a:pt x="3967" y="1313"/>
                  </a:lnTo>
                  <a:lnTo>
                    <a:pt x="3969" y="1336"/>
                  </a:lnTo>
                  <a:lnTo>
                    <a:pt x="3970" y="1361"/>
                  </a:lnTo>
                  <a:lnTo>
                    <a:pt x="3969" y="1385"/>
                  </a:lnTo>
                  <a:lnTo>
                    <a:pt x="3967" y="1408"/>
                  </a:lnTo>
                  <a:lnTo>
                    <a:pt x="3964" y="1429"/>
                  </a:lnTo>
                  <a:lnTo>
                    <a:pt x="3958" y="1451"/>
                  </a:lnTo>
                  <a:lnTo>
                    <a:pt x="3952" y="1470"/>
                  </a:lnTo>
                  <a:lnTo>
                    <a:pt x="3944" y="1488"/>
                  </a:lnTo>
                  <a:lnTo>
                    <a:pt x="3935" y="1506"/>
                  </a:lnTo>
                  <a:lnTo>
                    <a:pt x="3924" y="1522"/>
                  </a:lnTo>
                  <a:close/>
                  <a:moveTo>
                    <a:pt x="4678" y="1065"/>
                  </a:moveTo>
                  <a:lnTo>
                    <a:pt x="4661" y="1056"/>
                  </a:lnTo>
                  <a:lnTo>
                    <a:pt x="4644" y="1046"/>
                  </a:lnTo>
                  <a:lnTo>
                    <a:pt x="4625" y="1039"/>
                  </a:lnTo>
                  <a:lnTo>
                    <a:pt x="4606" y="1032"/>
                  </a:lnTo>
                  <a:lnTo>
                    <a:pt x="4586" y="1027"/>
                  </a:lnTo>
                  <a:lnTo>
                    <a:pt x="4565" y="1024"/>
                  </a:lnTo>
                  <a:lnTo>
                    <a:pt x="4544" y="1021"/>
                  </a:lnTo>
                  <a:lnTo>
                    <a:pt x="4521" y="1021"/>
                  </a:lnTo>
                  <a:lnTo>
                    <a:pt x="4499" y="1021"/>
                  </a:lnTo>
                  <a:lnTo>
                    <a:pt x="4478" y="1024"/>
                  </a:lnTo>
                  <a:lnTo>
                    <a:pt x="4457" y="1027"/>
                  </a:lnTo>
                  <a:lnTo>
                    <a:pt x="4437" y="1032"/>
                  </a:lnTo>
                  <a:lnTo>
                    <a:pt x="4419" y="1039"/>
                  </a:lnTo>
                  <a:lnTo>
                    <a:pt x="4401" y="1046"/>
                  </a:lnTo>
                  <a:lnTo>
                    <a:pt x="4384" y="1056"/>
                  </a:lnTo>
                  <a:lnTo>
                    <a:pt x="4368" y="1065"/>
                  </a:lnTo>
                  <a:lnTo>
                    <a:pt x="4358" y="1073"/>
                  </a:lnTo>
                  <a:lnTo>
                    <a:pt x="4350" y="1080"/>
                  </a:lnTo>
                  <a:lnTo>
                    <a:pt x="4340" y="1089"/>
                  </a:lnTo>
                  <a:lnTo>
                    <a:pt x="4332" y="1097"/>
                  </a:lnTo>
                  <a:lnTo>
                    <a:pt x="4332" y="1039"/>
                  </a:lnTo>
                  <a:lnTo>
                    <a:pt x="4221" y="1039"/>
                  </a:lnTo>
                  <a:lnTo>
                    <a:pt x="4221" y="1970"/>
                  </a:lnTo>
                  <a:lnTo>
                    <a:pt x="4346" y="1970"/>
                  </a:lnTo>
                  <a:lnTo>
                    <a:pt x="4346" y="1637"/>
                  </a:lnTo>
                  <a:lnTo>
                    <a:pt x="4357" y="1648"/>
                  </a:lnTo>
                  <a:lnTo>
                    <a:pt x="4369" y="1657"/>
                  </a:lnTo>
                  <a:lnTo>
                    <a:pt x="4385" y="1667"/>
                  </a:lnTo>
                  <a:lnTo>
                    <a:pt x="4402" y="1677"/>
                  </a:lnTo>
                  <a:lnTo>
                    <a:pt x="4420" y="1684"/>
                  </a:lnTo>
                  <a:lnTo>
                    <a:pt x="4439" y="1691"/>
                  </a:lnTo>
                  <a:lnTo>
                    <a:pt x="4458" y="1696"/>
                  </a:lnTo>
                  <a:lnTo>
                    <a:pt x="4480" y="1699"/>
                  </a:lnTo>
                  <a:lnTo>
                    <a:pt x="4501" y="1701"/>
                  </a:lnTo>
                  <a:lnTo>
                    <a:pt x="4525" y="1701"/>
                  </a:lnTo>
                  <a:lnTo>
                    <a:pt x="4546" y="1701"/>
                  </a:lnTo>
                  <a:lnTo>
                    <a:pt x="4567" y="1699"/>
                  </a:lnTo>
                  <a:lnTo>
                    <a:pt x="4589" y="1696"/>
                  </a:lnTo>
                  <a:lnTo>
                    <a:pt x="4608" y="1691"/>
                  </a:lnTo>
                  <a:lnTo>
                    <a:pt x="4627" y="1684"/>
                  </a:lnTo>
                  <a:lnTo>
                    <a:pt x="4645" y="1677"/>
                  </a:lnTo>
                  <a:lnTo>
                    <a:pt x="4663" y="1667"/>
                  </a:lnTo>
                  <a:lnTo>
                    <a:pt x="4679" y="1657"/>
                  </a:lnTo>
                  <a:lnTo>
                    <a:pt x="4695" y="1646"/>
                  </a:lnTo>
                  <a:lnTo>
                    <a:pt x="4710" y="1633"/>
                  </a:lnTo>
                  <a:lnTo>
                    <a:pt x="4724" y="1619"/>
                  </a:lnTo>
                  <a:lnTo>
                    <a:pt x="4738" y="1604"/>
                  </a:lnTo>
                  <a:lnTo>
                    <a:pt x="4750" y="1588"/>
                  </a:lnTo>
                  <a:lnTo>
                    <a:pt x="4760" y="1571"/>
                  </a:lnTo>
                  <a:lnTo>
                    <a:pt x="4771" y="1554"/>
                  </a:lnTo>
                  <a:lnTo>
                    <a:pt x="4781" y="1535"/>
                  </a:lnTo>
                  <a:lnTo>
                    <a:pt x="4789" y="1516"/>
                  </a:lnTo>
                  <a:lnTo>
                    <a:pt x="4796" y="1495"/>
                  </a:lnTo>
                  <a:lnTo>
                    <a:pt x="4802" y="1474"/>
                  </a:lnTo>
                  <a:lnTo>
                    <a:pt x="4807" y="1453"/>
                  </a:lnTo>
                  <a:lnTo>
                    <a:pt x="4810" y="1430"/>
                  </a:lnTo>
                  <a:lnTo>
                    <a:pt x="4814" y="1408"/>
                  </a:lnTo>
                  <a:lnTo>
                    <a:pt x="4816" y="1384"/>
                  </a:lnTo>
                  <a:lnTo>
                    <a:pt x="4816" y="1361"/>
                  </a:lnTo>
                  <a:lnTo>
                    <a:pt x="4816" y="1336"/>
                  </a:lnTo>
                  <a:lnTo>
                    <a:pt x="4814" y="1314"/>
                  </a:lnTo>
                  <a:lnTo>
                    <a:pt x="4810" y="1290"/>
                  </a:lnTo>
                  <a:lnTo>
                    <a:pt x="4807" y="1269"/>
                  </a:lnTo>
                  <a:lnTo>
                    <a:pt x="4802" y="1248"/>
                  </a:lnTo>
                  <a:lnTo>
                    <a:pt x="4796" y="1226"/>
                  </a:lnTo>
                  <a:lnTo>
                    <a:pt x="4788" y="1206"/>
                  </a:lnTo>
                  <a:lnTo>
                    <a:pt x="4781" y="1187"/>
                  </a:lnTo>
                  <a:lnTo>
                    <a:pt x="4771" y="1168"/>
                  </a:lnTo>
                  <a:lnTo>
                    <a:pt x="4760" y="1151"/>
                  </a:lnTo>
                  <a:lnTo>
                    <a:pt x="4749" y="1134"/>
                  </a:lnTo>
                  <a:lnTo>
                    <a:pt x="4737" y="1119"/>
                  </a:lnTo>
                  <a:lnTo>
                    <a:pt x="4724" y="1104"/>
                  </a:lnTo>
                  <a:lnTo>
                    <a:pt x="4709" y="1090"/>
                  </a:lnTo>
                  <a:lnTo>
                    <a:pt x="4694" y="1077"/>
                  </a:lnTo>
                  <a:lnTo>
                    <a:pt x="4678" y="1065"/>
                  </a:lnTo>
                  <a:close/>
                  <a:moveTo>
                    <a:pt x="4664" y="1476"/>
                  </a:moveTo>
                  <a:lnTo>
                    <a:pt x="4664" y="1476"/>
                  </a:lnTo>
                  <a:lnTo>
                    <a:pt x="4659" y="1489"/>
                  </a:lnTo>
                  <a:lnTo>
                    <a:pt x="4653" y="1501"/>
                  </a:lnTo>
                  <a:lnTo>
                    <a:pt x="4646" y="1512"/>
                  </a:lnTo>
                  <a:lnTo>
                    <a:pt x="4640" y="1523"/>
                  </a:lnTo>
                  <a:lnTo>
                    <a:pt x="4632" y="1533"/>
                  </a:lnTo>
                  <a:lnTo>
                    <a:pt x="4624" y="1542"/>
                  </a:lnTo>
                  <a:lnTo>
                    <a:pt x="4615" y="1551"/>
                  </a:lnTo>
                  <a:lnTo>
                    <a:pt x="4606" y="1558"/>
                  </a:lnTo>
                  <a:lnTo>
                    <a:pt x="4595" y="1566"/>
                  </a:lnTo>
                  <a:lnTo>
                    <a:pt x="4584" y="1572"/>
                  </a:lnTo>
                  <a:lnTo>
                    <a:pt x="4574" y="1578"/>
                  </a:lnTo>
                  <a:lnTo>
                    <a:pt x="4561" y="1582"/>
                  </a:lnTo>
                  <a:lnTo>
                    <a:pt x="4549" y="1585"/>
                  </a:lnTo>
                  <a:lnTo>
                    <a:pt x="4535" y="1587"/>
                  </a:lnTo>
                  <a:lnTo>
                    <a:pt x="4521" y="1588"/>
                  </a:lnTo>
                  <a:lnTo>
                    <a:pt x="4506" y="1589"/>
                  </a:lnTo>
                  <a:lnTo>
                    <a:pt x="4492" y="1588"/>
                  </a:lnTo>
                  <a:lnTo>
                    <a:pt x="4478" y="1587"/>
                  </a:lnTo>
                  <a:lnTo>
                    <a:pt x="4464" y="1585"/>
                  </a:lnTo>
                  <a:lnTo>
                    <a:pt x="4451" y="1582"/>
                  </a:lnTo>
                  <a:lnTo>
                    <a:pt x="4439" y="1578"/>
                  </a:lnTo>
                  <a:lnTo>
                    <a:pt x="4428" y="1572"/>
                  </a:lnTo>
                  <a:lnTo>
                    <a:pt x="4417" y="1567"/>
                  </a:lnTo>
                  <a:lnTo>
                    <a:pt x="4406" y="1559"/>
                  </a:lnTo>
                  <a:lnTo>
                    <a:pt x="4397" y="1552"/>
                  </a:lnTo>
                  <a:lnTo>
                    <a:pt x="4388" y="1543"/>
                  </a:lnTo>
                  <a:lnTo>
                    <a:pt x="4381" y="1535"/>
                  </a:lnTo>
                  <a:lnTo>
                    <a:pt x="4373" y="1525"/>
                  </a:lnTo>
                  <a:lnTo>
                    <a:pt x="4366" y="1515"/>
                  </a:lnTo>
                  <a:lnTo>
                    <a:pt x="4360" y="1504"/>
                  </a:lnTo>
                  <a:lnTo>
                    <a:pt x="4355" y="1491"/>
                  </a:lnTo>
                  <a:lnTo>
                    <a:pt x="4350" y="1479"/>
                  </a:lnTo>
                  <a:lnTo>
                    <a:pt x="4345" y="1467"/>
                  </a:lnTo>
                  <a:lnTo>
                    <a:pt x="4342" y="1453"/>
                  </a:lnTo>
                  <a:lnTo>
                    <a:pt x="4339" y="1439"/>
                  </a:lnTo>
                  <a:lnTo>
                    <a:pt x="4336" y="1424"/>
                  </a:lnTo>
                  <a:lnTo>
                    <a:pt x="4335" y="1409"/>
                  </a:lnTo>
                  <a:lnTo>
                    <a:pt x="4333" y="1393"/>
                  </a:lnTo>
                  <a:lnTo>
                    <a:pt x="4333" y="1377"/>
                  </a:lnTo>
                  <a:lnTo>
                    <a:pt x="4332" y="1361"/>
                  </a:lnTo>
                  <a:lnTo>
                    <a:pt x="4333" y="1345"/>
                  </a:lnTo>
                  <a:lnTo>
                    <a:pt x="4333" y="1329"/>
                  </a:lnTo>
                  <a:lnTo>
                    <a:pt x="4335" y="1313"/>
                  </a:lnTo>
                  <a:lnTo>
                    <a:pt x="4337" y="1298"/>
                  </a:lnTo>
                  <a:lnTo>
                    <a:pt x="4339" y="1283"/>
                  </a:lnTo>
                  <a:lnTo>
                    <a:pt x="4342" y="1269"/>
                  </a:lnTo>
                  <a:lnTo>
                    <a:pt x="4345" y="1255"/>
                  </a:lnTo>
                  <a:lnTo>
                    <a:pt x="4350" y="1242"/>
                  </a:lnTo>
                  <a:lnTo>
                    <a:pt x="4355" y="1230"/>
                  </a:lnTo>
                  <a:lnTo>
                    <a:pt x="4360" y="1218"/>
                  </a:lnTo>
                  <a:lnTo>
                    <a:pt x="4367" y="1207"/>
                  </a:lnTo>
                  <a:lnTo>
                    <a:pt x="4373" y="1196"/>
                  </a:lnTo>
                  <a:lnTo>
                    <a:pt x="4381" y="1187"/>
                  </a:lnTo>
                  <a:lnTo>
                    <a:pt x="4388" y="1178"/>
                  </a:lnTo>
                  <a:lnTo>
                    <a:pt x="4397" y="1170"/>
                  </a:lnTo>
                  <a:lnTo>
                    <a:pt x="4406" y="1162"/>
                  </a:lnTo>
                  <a:lnTo>
                    <a:pt x="4416" y="1156"/>
                  </a:lnTo>
                  <a:lnTo>
                    <a:pt x="4426" y="1150"/>
                  </a:lnTo>
                  <a:lnTo>
                    <a:pt x="4437" y="1145"/>
                  </a:lnTo>
                  <a:lnTo>
                    <a:pt x="4449" y="1141"/>
                  </a:lnTo>
                  <a:lnTo>
                    <a:pt x="4462" y="1138"/>
                  </a:lnTo>
                  <a:lnTo>
                    <a:pt x="4474" y="1136"/>
                  </a:lnTo>
                  <a:lnTo>
                    <a:pt x="4488" y="1135"/>
                  </a:lnTo>
                  <a:lnTo>
                    <a:pt x="4502" y="1134"/>
                  </a:lnTo>
                  <a:lnTo>
                    <a:pt x="4518" y="1135"/>
                  </a:lnTo>
                  <a:lnTo>
                    <a:pt x="4532" y="1136"/>
                  </a:lnTo>
                  <a:lnTo>
                    <a:pt x="4546" y="1138"/>
                  </a:lnTo>
                  <a:lnTo>
                    <a:pt x="4559" y="1142"/>
                  </a:lnTo>
                  <a:lnTo>
                    <a:pt x="4572" y="1146"/>
                  </a:lnTo>
                  <a:lnTo>
                    <a:pt x="4583" y="1151"/>
                  </a:lnTo>
                  <a:lnTo>
                    <a:pt x="4594" y="1157"/>
                  </a:lnTo>
                  <a:lnTo>
                    <a:pt x="4605" y="1164"/>
                  </a:lnTo>
                  <a:lnTo>
                    <a:pt x="4614" y="1172"/>
                  </a:lnTo>
                  <a:lnTo>
                    <a:pt x="4624" y="1180"/>
                  </a:lnTo>
                  <a:lnTo>
                    <a:pt x="4631" y="1190"/>
                  </a:lnTo>
                  <a:lnTo>
                    <a:pt x="4640" y="1200"/>
                  </a:lnTo>
                  <a:lnTo>
                    <a:pt x="4646" y="1210"/>
                  </a:lnTo>
                  <a:lnTo>
                    <a:pt x="4653" y="1222"/>
                  </a:lnTo>
                  <a:lnTo>
                    <a:pt x="4659" y="1234"/>
                  </a:lnTo>
                  <a:lnTo>
                    <a:pt x="4664" y="1247"/>
                  </a:lnTo>
                  <a:lnTo>
                    <a:pt x="4669" y="1259"/>
                  </a:lnTo>
                  <a:lnTo>
                    <a:pt x="4673" y="1272"/>
                  </a:lnTo>
                  <a:lnTo>
                    <a:pt x="4676" y="1286"/>
                  </a:lnTo>
                  <a:lnTo>
                    <a:pt x="4678" y="1300"/>
                  </a:lnTo>
                  <a:lnTo>
                    <a:pt x="4680" y="1315"/>
                  </a:lnTo>
                  <a:lnTo>
                    <a:pt x="4682" y="1330"/>
                  </a:lnTo>
                  <a:lnTo>
                    <a:pt x="4684" y="1345"/>
                  </a:lnTo>
                  <a:lnTo>
                    <a:pt x="4684" y="1361"/>
                  </a:lnTo>
                  <a:lnTo>
                    <a:pt x="4684" y="1377"/>
                  </a:lnTo>
                  <a:lnTo>
                    <a:pt x="4682" y="1392"/>
                  </a:lnTo>
                  <a:lnTo>
                    <a:pt x="4680" y="1407"/>
                  </a:lnTo>
                  <a:lnTo>
                    <a:pt x="4678" y="1422"/>
                  </a:lnTo>
                  <a:lnTo>
                    <a:pt x="4676" y="1436"/>
                  </a:lnTo>
                  <a:lnTo>
                    <a:pt x="4673" y="1449"/>
                  </a:lnTo>
                  <a:lnTo>
                    <a:pt x="4669" y="1463"/>
                  </a:lnTo>
                  <a:lnTo>
                    <a:pt x="4664" y="1476"/>
                  </a:lnTo>
                  <a:close/>
                  <a:moveTo>
                    <a:pt x="5438" y="1144"/>
                  </a:moveTo>
                  <a:lnTo>
                    <a:pt x="5429" y="1128"/>
                  </a:lnTo>
                  <a:lnTo>
                    <a:pt x="5421" y="1114"/>
                  </a:lnTo>
                  <a:lnTo>
                    <a:pt x="5410" y="1102"/>
                  </a:lnTo>
                  <a:lnTo>
                    <a:pt x="5399" y="1089"/>
                  </a:lnTo>
                  <a:lnTo>
                    <a:pt x="5386" y="1078"/>
                  </a:lnTo>
                  <a:lnTo>
                    <a:pt x="5374" y="1067"/>
                  </a:lnTo>
                  <a:lnTo>
                    <a:pt x="5359" y="1059"/>
                  </a:lnTo>
                  <a:lnTo>
                    <a:pt x="5343" y="1050"/>
                  </a:lnTo>
                  <a:lnTo>
                    <a:pt x="5327" y="1044"/>
                  </a:lnTo>
                  <a:lnTo>
                    <a:pt x="5310" y="1037"/>
                  </a:lnTo>
                  <a:lnTo>
                    <a:pt x="5292" y="1032"/>
                  </a:lnTo>
                  <a:lnTo>
                    <a:pt x="5273" y="1029"/>
                  </a:lnTo>
                  <a:lnTo>
                    <a:pt x="5254" y="1026"/>
                  </a:lnTo>
                  <a:lnTo>
                    <a:pt x="5234" y="1023"/>
                  </a:lnTo>
                  <a:lnTo>
                    <a:pt x="5214" y="1021"/>
                  </a:lnTo>
                  <a:lnTo>
                    <a:pt x="5192" y="1021"/>
                  </a:lnTo>
                  <a:lnTo>
                    <a:pt x="5166" y="1021"/>
                  </a:lnTo>
                  <a:lnTo>
                    <a:pt x="5139" y="1024"/>
                  </a:lnTo>
                  <a:lnTo>
                    <a:pt x="5116" y="1028"/>
                  </a:lnTo>
                  <a:lnTo>
                    <a:pt x="5092" y="1033"/>
                  </a:lnTo>
                  <a:lnTo>
                    <a:pt x="5071" y="1041"/>
                  </a:lnTo>
                  <a:lnTo>
                    <a:pt x="5050" y="1048"/>
                  </a:lnTo>
                  <a:lnTo>
                    <a:pt x="5031" y="1059"/>
                  </a:lnTo>
                  <a:lnTo>
                    <a:pt x="5014" y="1071"/>
                  </a:lnTo>
                  <a:lnTo>
                    <a:pt x="4997" y="1082"/>
                  </a:lnTo>
                  <a:lnTo>
                    <a:pt x="4983" y="1096"/>
                  </a:lnTo>
                  <a:lnTo>
                    <a:pt x="4969" y="1111"/>
                  </a:lnTo>
                  <a:lnTo>
                    <a:pt x="4958" y="1127"/>
                  </a:lnTo>
                  <a:lnTo>
                    <a:pt x="4947" y="1144"/>
                  </a:lnTo>
                  <a:lnTo>
                    <a:pt x="4937" y="1162"/>
                  </a:lnTo>
                  <a:lnTo>
                    <a:pt x="4929" y="1182"/>
                  </a:lnTo>
                  <a:lnTo>
                    <a:pt x="4922" y="1202"/>
                  </a:lnTo>
                  <a:lnTo>
                    <a:pt x="5039" y="1238"/>
                  </a:lnTo>
                  <a:lnTo>
                    <a:pt x="5044" y="1224"/>
                  </a:lnTo>
                  <a:lnTo>
                    <a:pt x="5049" y="1213"/>
                  </a:lnTo>
                  <a:lnTo>
                    <a:pt x="5055" y="1202"/>
                  </a:lnTo>
                  <a:lnTo>
                    <a:pt x="5062" y="1191"/>
                  </a:lnTo>
                  <a:lnTo>
                    <a:pt x="5070" y="1182"/>
                  </a:lnTo>
                  <a:lnTo>
                    <a:pt x="5078" y="1174"/>
                  </a:lnTo>
                  <a:lnTo>
                    <a:pt x="5088" y="1167"/>
                  </a:lnTo>
                  <a:lnTo>
                    <a:pt x="5098" y="1160"/>
                  </a:lnTo>
                  <a:lnTo>
                    <a:pt x="5109" y="1155"/>
                  </a:lnTo>
                  <a:lnTo>
                    <a:pt x="5120" y="1150"/>
                  </a:lnTo>
                  <a:lnTo>
                    <a:pt x="5132" y="1145"/>
                  </a:lnTo>
                  <a:lnTo>
                    <a:pt x="5142" y="1142"/>
                  </a:lnTo>
                  <a:lnTo>
                    <a:pt x="5154" y="1140"/>
                  </a:lnTo>
                  <a:lnTo>
                    <a:pt x="5167" y="1138"/>
                  </a:lnTo>
                  <a:lnTo>
                    <a:pt x="5178" y="1137"/>
                  </a:lnTo>
                  <a:lnTo>
                    <a:pt x="5191" y="1137"/>
                  </a:lnTo>
                  <a:lnTo>
                    <a:pt x="5210" y="1137"/>
                  </a:lnTo>
                  <a:lnTo>
                    <a:pt x="5229" y="1139"/>
                  </a:lnTo>
                  <a:lnTo>
                    <a:pt x="5245" y="1141"/>
                  </a:lnTo>
                  <a:lnTo>
                    <a:pt x="5260" y="1145"/>
                  </a:lnTo>
                  <a:lnTo>
                    <a:pt x="5273" y="1151"/>
                  </a:lnTo>
                  <a:lnTo>
                    <a:pt x="5285" y="1157"/>
                  </a:lnTo>
                  <a:lnTo>
                    <a:pt x="5296" y="1164"/>
                  </a:lnTo>
                  <a:lnTo>
                    <a:pt x="5305" y="1173"/>
                  </a:lnTo>
                  <a:lnTo>
                    <a:pt x="5312" y="1182"/>
                  </a:lnTo>
                  <a:lnTo>
                    <a:pt x="5318" y="1191"/>
                  </a:lnTo>
                  <a:lnTo>
                    <a:pt x="5322" y="1202"/>
                  </a:lnTo>
                  <a:lnTo>
                    <a:pt x="5327" y="1213"/>
                  </a:lnTo>
                  <a:lnTo>
                    <a:pt x="5331" y="1225"/>
                  </a:lnTo>
                  <a:lnTo>
                    <a:pt x="5333" y="1238"/>
                  </a:lnTo>
                  <a:lnTo>
                    <a:pt x="5335" y="1252"/>
                  </a:lnTo>
                  <a:lnTo>
                    <a:pt x="5336" y="1267"/>
                  </a:lnTo>
                  <a:lnTo>
                    <a:pt x="5318" y="1269"/>
                  </a:lnTo>
                  <a:lnTo>
                    <a:pt x="5300" y="1272"/>
                  </a:lnTo>
                  <a:lnTo>
                    <a:pt x="5282" y="1274"/>
                  </a:lnTo>
                  <a:lnTo>
                    <a:pt x="5263" y="1278"/>
                  </a:lnTo>
                  <a:lnTo>
                    <a:pt x="5234" y="1282"/>
                  </a:lnTo>
                  <a:lnTo>
                    <a:pt x="5205" y="1286"/>
                  </a:lnTo>
                  <a:lnTo>
                    <a:pt x="5176" y="1290"/>
                  </a:lnTo>
                  <a:lnTo>
                    <a:pt x="5149" y="1295"/>
                  </a:lnTo>
                  <a:lnTo>
                    <a:pt x="5123" y="1300"/>
                  </a:lnTo>
                  <a:lnTo>
                    <a:pt x="5097" y="1305"/>
                  </a:lnTo>
                  <a:lnTo>
                    <a:pt x="5074" y="1311"/>
                  </a:lnTo>
                  <a:lnTo>
                    <a:pt x="5052" y="1317"/>
                  </a:lnTo>
                  <a:lnTo>
                    <a:pt x="5028" y="1326"/>
                  </a:lnTo>
                  <a:lnTo>
                    <a:pt x="5006" y="1336"/>
                  </a:lnTo>
                  <a:lnTo>
                    <a:pt x="4986" y="1347"/>
                  </a:lnTo>
                  <a:lnTo>
                    <a:pt x="4968" y="1360"/>
                  </a:lnTo>
                  <a:lnTo>
                    <a:pt x="4960" y="1366"/>
                  </a:lnTo>
                  <a:lnTo>
                    <a:pt x="4952" y="1373"/>
                  </a:lnTo>
                  <a:lnTo>
                    <a:pt x="4945" y="1380"/>
                  </a:lnTo>
                  <a:lnTo>
                    <a:pt x="4938" y="1389"/>
                  </a:lnTo>
                  <a:lnTo>
                    <a:pt x="4932" y="1396"/>
                  </a:lnTo>
                  <a:lnTo>
                    <a:pt x="4927" y="1405"/>
                  </a:lnTo>
                  <a:lnTo>
                    <a:pt x="4921" y="1413"/>
                  </a:lnTo>
                  <a:lnTo>
                    <a:pt x="4917" y="1423"/>
                  </a:lnTo>
                  <a:lnTo>
                    <a:pt x="4913" y="1431"/>
                  </a:lnTo>
                  <a:lnTo>
                    <a:pt x="4910" y="1442"/>
                  </a:lnTo>
                  <a:lnTo>
                    <a:pt x="4906" y="1452"/>
                  </a:lnTo>
                  <a:lnTo>
                    <a:pt x="4904" y="1462"/>
                  </a:lnTo>
                  <a:lnTo>
                    <a:pt x="4902" y="1473"/>
                  </a:lnTo>
                  <a:lnTo>
                    <a:pt x="4900" y="1485"/>
                  </a:lnTo>
                  <a:lnTo>
                    <a:pt x="4900" y="1496"/>
                  </a:lnTo>
                  <a:lnTo>
                    <a:pt x="4899" y="1508"/>
                  </a:lnTo>
                  <a:lnTo>
                    <a:pt x="4900" y="1521"/>
                  </a:lnTo>
                  <a:lnTo>
                    <a:pt x="4901" y="1534"/>
                  </a:lnTo>
                  <a:lnTo>
                    <a:pt x="4903" y="1547"/>
                  </a:lnTo>
                  <a:lnTo>
                    <a:pt x="4905" y="1558"/>
                  </a:lnTo>
                  <a:lnTo>
                    <a:pt x="4909" y="1571"/>
                  </a:lnTo>
                  <a:lnTo>
                    <a:pt x="4913" y="1582"/>
                  </a:lnTo>
                  <a:lnTo>
                    <a:pt x="4918" y="1594"/>
                  </a:lnTo>
                  <a:lnTo>
                    <a:pt x="4925" y="1605"/>
                  </a:lnTo>
                  <a:lnTo>
                    <a:pt x="4931" y="1616"/>
                  </a:lnTo>
                  <a:lnTo>
                    <a:pt x="4938" y="1626"/>
                  </a:lnTo>
                  <a:lnTo>
                    <a:pt x="4946" y="1635"/>
                  </a:lnTo>
                  <a:lnTo>
                    <a:pt x="4954" y="1645"/>
                  </a:lnTo>
                  <a:lnTo>
                    <a:pt x="4964" y="1653"/>
                  </a:lnTo>
                  <a:lnTo>
                    <a:pt x="4975" y="1661"/>
                  </a:lnTo>
                  <a:lnTo>
                    <a:pt x="4985" y="1668"/>
                  </a:lnTo>
                  <a:lnTo>
                    <a:pt x="4997" y="1676"/>
                  </a:lnTo>
                  <a:lnTo>
                    <a:pt x="5010" y="1681"/>
                  </a:lnTo>
                  <a:lnTo>
                    <a:pt x="5023" y="1686"/>
                  </a:lnTo>
                  <a:lnTo>
                    <a:pt x="5037" y="1692"/>
                  </a:lnTo>
                  <a:lnTo>
                    <a:pt x="5052" y="1695"/>
                  </a:lnTo>
                  <a:lnTo>
                    <a:pt x="5066" y="1698"/>
                  </a:lnTo>
                  <a:lnTo>
                    <a:pt x="5082" y="1700"/>
                  </a:lnTo>
                  <a:lnTo>
                    <a:pt x="5100" y="1701"/>
                  </a:lnTo>
                  <a:lnTo>
                    <a:pt x="5118" y="1701"/>
                  </a:lnTo>
                  <a:lnTo>
                    <a:pt x="5139" y="1701"/>
                  </a:lnTo>
                  <a:lnTo>
                    <a:pt x="5160" y="1699"/>
                  </a:lnTo>
                  <a:lnTo>
                    <a:pt x="5181" y="1697"/>
                  </a:lnTo>
                  <a:lnTo>
                    <a:pt x="5200" y="1693"/>
                  </a:lnTo>
                  <a:lnTo>
                    <a:pt x="5219" y="1687"/>
                  </a:lnTo>
                  <a:lnTo>
                    <a:pt x="5236" y="1681"/>
                  </a:lnTo>
                  <a:lnTo>
                    <a:pt x="5253" y="1675"/>
                  </a:lnTo>
                  <a:lnTo>
                    <a:pt x="5269" y="1666"/>
                  </a:lnTo>
                  <a:lnTo>
                    <a:pt x="5281" y="1659"/>
                  </a:lnTo>
                  <a:lnTo>
                    <a:pt x="5292" y="1651"/>
                  </a:lnTo>
                  <a:lnTo>
                    <a:pt x="5302" y="1643"/>
                  </a:lnTo>
                  <a:lnTo>
                    <a:pt x="5313" y="1633"/>
                  </a:lnTo>
                  <a:lnTo>
                    <a:pt x="5322" y="1623"/>
                  </a:lnTo>
                  <a:lnTo>
                    <a:pt x="5332" y="1613"/>
                  </a:lnTo>
                  <a:lnTo>
                    <a:pt x="5341" y="1602"/>
                  </a:lnTo>
                  <a:lnTo>
                    <a:pt x="5349" y="1590"/>
                  </a:lnTo>
                  <a:lnTo>
                    <a:pt x="5349" y="1684"/>
                  </a:lnTo>
                  <a:lnTo>
                    <a:pt x="5460" y="1684"/>
                  </a:lnTo>
                  <a:lnTo>
                    <a:pt x="5460" y="1287"/>
                  </a:lnTo>
                  <a:lnTo>
                    <a:pt x="5460" y="1267"/>
                  </a:lnTo>
                  <a:lnTo>
                    <a:pt x="5459" y="1248"/>
                  </a:lnTo>
                  <a:lnTo>
                    <a:pt x="5458" y="1229"/>
                  </a:lnTo>
                  <a:lnTo>
                    <a:pt x="5456" y="1211"/>
                  </a:lnTo>
                  <a:lnTo>
                    <a:pt x="5454" y="1193"/>
                  </a:lnTo>
                  <a:lnTo>
                    <a:pt x="5449" y="1176"/>
                  </a:lnTo>
                  <a:lnTo>
                    <a:pt x="5444" y="1160"/>
                  </a:lnTo>
                  <a:lnTo>
                    <a:pt x="5438" y="1144"/>
                  </a:lnTo>
                  <a:close/>
                  <a:moveTo>
                    <a:pt x="5322" y="1472"/>
                  </a:moveTo>
                  <a:lnTo>
                    <a:pt x="5322" y="1472"/>
                  </a:lnTo>
                  <a:lnTo>
                    <a:pt x="5318" y="1488"/>
                  </a:lnTo>
                  <a:lnTo>
                    <a:pt x="5312" y="1503"/>
                  </a:lnTo>
                  <a:lnTo>
                    <a:pt x="5303" y="1518"/>
                  </a:lnTo>
                  <a:lnTo>
                    <a:pt x="5293" y="1533"/>
                  </a:lnTo>
                  <a:lnTo>
                    <a:pt x="5286" y="1540"/>
                  </a:lnTo>
                  <a:lnTo>
                    <a:pt x="5280" y="1547"/>
                  </a:lnTo>
                  <a:lnTo>
                    <a:pt x="5272" y="1553"/>
                  </a:lnTo>
                  <a:lnTo>
                    <a:pt x="5265" y="1559"/>
                  </a:lnTo>
                  <a:lnTo>
                    <a:pt x="5249" y="1571"/>
                  </a:lnTo>
                  <a:lnTo>
                    <a:pt x="5231" y="1581"/>
                  </a:lnTo>
                  <a:lnTo>
                    <a:pt x="5221" y="1585"/>
                  </a:lnTo>
                  <a:lnTo>
                    <a:pt x="5210" y="1589"/>
                  </a:lnTo>
                  <a:lnTo>
                    <a:pt x="5200" y="1592"/>
                  </a:lnTo>
                  <a:lnTo>
                    <a:pt x="5189" y="1595"/>
                  </a:lnTo>
                  <a:lnTo>
                    <a:pt x="5177" y="1597"/>
                  </a:lnTo>
                  <a:lnTo>
                    <a:pt x="5165" y="1599"/>
                  </a:lnTo>
                  <a:lnTo>
                    <a:pt x="5153" y="1600"/>
                  </a:lnTo>
                  <a:lnTo>
                    <a:pt x="5139" y="1600"/>
                  </a:lnTo>
                  <a:lnTo>
                    <a:pt x="5120" y="1599"/>
                  </a:lnTo>
                  <a:lnTo>
                    <a:pt x="5103" y="1597"/>
                  </a:lnTo>
                  <a:lnTo>
                    <a:pt x="5088" y="1592"/>
                  </a:lnTo>
                  <a:lnTo>
                    <a:pt x="5074" y="1587"/>
                  </a:lnTo>
                  <a:lnTo>
                    <a:pt x="5062" y="1581"/>
                  </a:lnTo>
                  <a:lnTo>
                    <a:pt x="5052" y="1572"/>
                  </a:lnTo>
                  <a:lnTo>
                    <a:pt x="5043" y="1564"/>
                  </a:lnTo>
                  <a:lnTo>
                    <a:pt x="5036" y="1553"/>
                  </a:lnTo>
                  <a:lnTo>
                    <a:pt x="5030" y="1542"/>
                  </a:lnTo>
                  <a:lnTo>
                    <a:pt x="5026" y="1532"/>
                  </a:lnTo>
                  <a:lnTo>
                    <a:pt x="5024" y="1520"/>
                  </a:lnTo>
                  <a:lnTo>
                    <a:pt x="5023" y="1507"/>
                  </a:lnTo>
                  <a:lnTo>
                    <a:pt x="5024" y="1494"/>
                  </a:lnTo>
                  <a:lnTo>
                    <a:pt x="5026" y="1484"/>
                  </a:lnTo>
                  <a:lnTo>
                    <a:pt x="5029" y="1473"/>
                  </a:lnTo>
                  <a:lnTo>
                    <a:pt x="5034" y="1463"/>
                  </a:lnTo>
                  <a:lnTo>
                    <a:pt x="5041" y="1455"/>
                  </a:lnTo>
                  <a:lnTo>
                    <a:pt x="5048" y="1447"/>
                  </a:lnTo>
                  <a:lnTo>
                    <a:pt x="5057" y="1440"/>
                  </a:lnTo>
                  <a:lnTo>
                    <a:pt x="5066" y="1433"/>
                  </a:lnTo>
                  <a:lnTo>
                    <a:pt x="5077" y="1427"/>
                  </a:lnTo>
                  <a:lnTo>
                    <a:pt x="5088" y="1422"/>
                  </a:lnTo>
                  <a:lnTo>
                    <a:pt x="5100" y="1416"/>
                  </a:lnTo>
                  <a:lnTo>
                    <a:pt x="5112" y="1412"/>
                  </a:lnTo>
                  <a:lnTo>
                    <a:pt x="5127" y="1407"/>
                  </a:lnTo>
                  <a:lnTo>
                    <a:pt x="5144" y="1402"/>
                  </a:lnTo>
                  <a:lnTo>
                    <a:pt x="5162" y="1399"/>
                  </a:lnTo>
                  <a:lnTo>
                    <a:pt x="5182" y="1395"/>
                  </a:lnTo>
                  <a:lnTo>
                    <a:pt x="5202" y="1392"/>
                  </a:lnTo>
                  <a:lnTo>
                    <a:pt x="5223" y="1389"/>
                  </a:lnTo>
                  <a:lnTo>
                    <a:pt x="5246" y="1384"/>
                  </a:lnTo>
                  <a:lnTo>
                    <a:pt x="5269" y="1381"/>
                  </a:lnTo>
                  <a:lnTo>
                    <a:pt x="5285" y="1379"/>
                  </a:lnTo>
                  <a:lnTo>
                    <a:pt x="5301" y="1377"/>
                  </a:lnTo>
                  <a:lnTo>
                    <a:pt x="5318" y="1374"/>
                  </a:lnTo>
                  <a:lnTo>
                    <a:pt x="5335" y="1372"/>
                  </a:lnTo>
                  <a:lnTo>
                    <a:pt x="5335" y="1379"/>
                  </a:lnTo>
                  <a:lnTo>
                    <a:pt x="5335" y="1389"/>
                  </a:lnTo>
                  <a:lnTo>
                    <a:pt x="5334" y="1397"/>
                  </a:lnTo>
                  <a:lnTo>
                    <a:pt x="5334" y="1408"/>
                  </a:lnTo>
                  <a:lnTo>
                    <a:pt x="5333" y="1425"/>
                  </a:lnTo>
                  <a:lnTo>
                    <a:pt x="5331" y="1442"/>
                  </a:lnTo>
                  <a:lnTo>
                    <a:pt x="5327" y="1457"/>
                  </a:lnTo>
                  <a:lnTo>
                    <a:pt x="5322" y="1472"/>
                  </a:lnTo>
                  <a:close/>
                  <a:moveTo>
                    <a:pt x="6146" y="1039"/>
                  </a:moveTo>
                  <a:lnTo>
                    <a:pt x="6021" y="1039"/>
                  </a:lnTo>
                  <a:lnTo>
                    <a:pt x="6021" y="1566"/>
                  </a:lnTo>
                  <a:lnTo>
                    <a:pt x="5728" y="1566"/>
                  </a:lnTo>
                  <a:lnTo>
                    <a:pt x="5728" y="1039"/>
                  </a:lnTo>
                  <a:lnTo>
                    <a:pt x="5603" y="1039"/>
                  </a:lnTo>
                  <a:lnTo>
                    <a:pt x="5603" y="1684"/>
                  </a:lnTo>
                  <a:lnTo>
                    <a:pt x="6147" y="1684"/>
                  </a:lnTo>
                  <a:lnTo>
                    <a:pt x="6147" y="1811"/>
                  </a:lnTo>
                  <a:lnTo>
                    <a:pt x="6272" y="1811"/>
                  </a:lnTo>
                  <a:lnTo>
                    <a:pt x="6272" y="1571"/>
                  </a:lnTo>
                  <a:lnTo>
                    <a:pt x="6146" y="1571"/>
                  </a:lnTo>
                  <a:lnTo>
                    <a:pt x="6146" y="1039"/>
                  </a:lnTo>
                  <a:close/>
                  <a:moveTo>
                    <a:pt x="6475" y="1478"/>
                  </a:moveTo>
                  <a:lnTo>
                    <a:pt x="6475" y="1039"/>
                  </a:lnTo>
                  <a:lnTo>
                    <a:pt x="6355" y="1039"/>
                  </a:lnTo>
                  <a:lnTo>
                    <a:pt x="6355" y="1684"/>
                  </a:lnTo>
                  <a:lnTo>
                    <a:pt x="6456" y="1684"/>
                  </a:lnTo>
                  <a:lnTo>
                    <a:pt x="6778" y="1235"/>
                  </a:lnTo>
                  <a:lnTo>
                    <a:pt x="6778" y="1684"/>
                  </a:lnTo>
                  <a:lnTo>
                    <a:pt x="6899" y="1684"/>
                  </a:lnTo>
                  <a:lnTo>
                    <a:pt x="6899" y="1039"/>
                  </a:lnTo>
                  <a:lnTo>
                    <a:pt x="6798" y="1039"/>
                  </a:lnTo>
                  <a:lnTo>
                    <a:pt x="6475" y="1478"/>
                  </a:lnTo>
                  <a:close/>
                  <a:moveTo>
                    <a:pt x="7315" y="1039"/>
                  </a:moveTo>
                  <a:lnTo>
                    <a:pt x="7303" y="1039"/>
                  </a:lnTo>
                  <a:lnTo>
                    <a:pt x="7290" y="1040"/>
                  </a:lnTo>
                  <a:lnTo>
                    <a:pt x="7277" y="1040"/>
                  </a:lnTo>
                  <a:lnTo>
                    <a:pt x="7261" y="1040"/>
                  </a:lnTo>
                  <a:lnTo>
                    <a:pt x="7245" y="1041"/>
                  </a:lnTo>
                  <a:lnTo>
                    <a:pt x="7230" y="1043"/>
                  </a:lnTo>
                  <a:lnTo>
                    <a:pt x="7214" y="1045"/>
                  </a:lnTo>
                  <a:lnTo>
                    <a:pt x="7199" y="1048"/>
                  </a:lnTo>
                  <a:lnTo>
                    <a:pt x="7182" y="1052"/>
                  </a:lnTo>
                  <a:lnTo>
                    <a:pt x="7165" y="1058"/>
                  </a:lnTo>
                  <a:lnTo>
                    <a:pt x="7149" y="1064"/>
                  </a:lnTo>
                  <a:lnTo>
                    <a:pt x="7135" y="1072"/>
                  </a:lnTo>
                  <a:lnTo>
                    <a:pt x="7120" y="1081"/>
                  </a:lnTo>
                  <a:lnTo>
                    <a:pt x="7107" y="1091"/>
                  </a:lnTo>
                  <a:lnTo>
                    <a:pt x="7094" y="1103"/>
                  </a:lnTo>
                  <a:lnTo>
                    <a:pt x="7082" y="1114"/>
                  </a:lnTo>
                  <a:lnTo>
                    <a:pt x="7072" y="1128"/>
                  </a:lnTo>
                  <a:lnTo>
                    <a:pt x="7062" y="1142"/>
                  </a:lnTo>
                  <a:lnTo>
                    <a:pt x="7055" y="1158"/>
                  </a:lnTo>
                  <a:lnTo>
                    <a:pt x="7048" y="1174"/>
                  </a:lnTo>
                  <a:lnTo>
                    <a:pt x="7043" y="1192"/>
                  </a:lnTo>
                  <a:lnTo>
                    <a:pt x="7040" y="1210"/>
                  </a:lnTo>
                  <a:lnTo>
                    <a:pt x="7038" y="1231"/>
                  </a:lnTo>
                  <a:lnTo>
                    <a:pt x="7037" y="1251"/>
                  </a:lnTo>
                  <a:lnTo>
                    <a:pt x="7038" y="1272"/>
                  </a:lnTo>
                  <a:lnTo>
                    <a:pt x="7040" y="1293"/>
                  </a:lnTo>
                  <a:lnTo>
                    <a:pt x="7043" y="1312"/>
                  </a:lnTo>
                  <a:lnTo>
                    <a:pt x="7048" y="1329"/>
                  </a:lnTo>
                  <a:lnTo>
                    <a:pt x="7056" y="1346"/>
                  </a:lnTo>
                  <a:lnTo>
                    <a:pt x="7064" y="1361"/>
                  </a:lnTo>
                  <a:lnTo>
                    <a:pt x="7074" y="1376"/>
                  </a:lnTo>
                  <a:lnTo>
                    <a:pt x="7085" y="1389"/>
                  </a:lnTo>
                  <a:lnTo>
                    <a:pt x="7094" y="1398"/>
                  </a:lnTo>
                  <a:lnTo>
                    <a:pt x="7104" y="1406"/>
                  </a:lnTo>
                  <a:lnTo>
                    <a:pt x="7114" y="1414"/>
                  </a:lnTo>
                  <a:lnTo>
                    <a:pt x="7125" y="1421"/>
                  </a:lnTo>
                  <a:lnTo>
                    <a:pt x="7136" y="1427"/>
                  </a:lnTo>
                  <a:lnTo>
                    <a:pt x="7147" y="1433"/>
                  </a:lnTo>
                  <a:lnTo>
                    <a:pt x="7159" y="1439"/>
                  </a:lnTo>
                  <a:lnTo>
                    <a:pt x="7172" y="1443"/>
                  </a:lnTo>
                  <a:lnTo>
                    <a:pt x="7018" y="1684"/>
                  </a:lnTo>
                  <a:lnTo>
                    <a:pt x="7152" y="1684"/>
                  </a:lnTo>
                  <a:lnTo>
                    <a:pt x="7294" y="1459"/>
                  </a:lnTo>
                  <a:lnTo>
                    <a:pt x="7306" y="1460"/>
                  </a:lnTo>
                  <a:lnTo>
                    <a:pt x="7318" y="1460"/>
                  </a:lnTo>
                  <a:lnTo>
                    <a:pt x="7446" y="1460"/>
                  </a:lnTo>
                  <a:lnTo>
                    <a:pt x="7446" y="1684"/>
                  </a:lnTo>
                  <a:lnTo>
                    <a:pt x="7571" y="1684"/>
                  </a:lnTo>
                  <a:lnTo>
                    <a:pt x="7571" y="1039"/>
                  </a:lnTo>
                  <a:lnTo>
                    <a:pt x="7315" y="1039"/>
                  </a:lnTo>
                  <a:close/>
                  <a:moveTo>
                    <a:pt x="7446" y="1360"/>
                  </a:moveTo>
                  <a:lnTo>
                    <a:pt x="7446" y="1360"/>
                  </a:lnTo>
                  <a:lnTo>
                    <a:pt x="7307" y="1360"/>
                  </a:lnTo>
                  <a:lnTo>
                    <a:pt x="7294" y="1360"/>
                  </a:lnTo>
                  <a:lnTo>
                    <a:pt x="7278" y="1359"/>
                  </a:lnTo>
                  <a:lnTo>
                    <a:pt x="7269" y="1358"/>
                  </a:lnTo>
                  <a:lnTo>
                    <a:pt x="7261" y="1357"/>
                  </a:lnTo>
                  <a:lnTo>
                    <a:pt x="7252" y="1354"/>
                  </a:lnTo>
                  <a:lnTo>
                    <a:pt x="7243" y="1352"/>
                  </a:lnTo>
                  <a:lnTo>
                    <a:pt x="7235" y="1350"/>
                  </a:lnTo>
                  <a:lnTo>
                    <a:pt x="7227" y="1347"/>
                  </a:lnTo>
                  <a:lnTo>
                    <a:pt x="7220" y="1344"/>
                  </a:lnTo>
                  <a:lnTo>
                    <a:pt x="7214" y="1340"/>
                  </a:lnTo>
                  <a:lnTo>
                    <a:pt x="7206" y="1335"/>
                  </a:lnTo>
                  <a:lnTo>
                    <a:pt x="7200" y="1330"/>
                  </a:lnTo>
                  <a:lnTo>
                    <a:pt x="7193" y="1324"/>
                  </a:lnTo>
                  <a:lnTo>
                    <a:pt x="7188" y="1317"/>
                  </a:lnTo>
                  <a:lnTo>
                    <a:pt x="7183" y="1311"/>
                  </a:lnTo>
                  <a:lnTo>
                    <a:pt x="7177" y="1303"/>
                  </a:lnTo>
                  <a:lnTo>
                    <a:pt x="7173" y="1296"/>
                  </a:lnTo>
                  <a:lnTo>
                    <a:pt x="7170" y="1287"/>
                  </a:lnTo>
                  <a:lnTo>
                    <a:pt x="7168" y="1279"/>
                  </a:lnTo>
                  <a:lnTo>
                    <a:pt x="7166" y="1269"/>
                  </a:lnTo>
                  <a:lnTo>
                    <a:pt x="7165" y="1259"/>
                  </a:lnTo>
                  <a:lnTo>
                    <a:pt x="7165" y="1250"/>
                  </a:lnTo>
                  <a:lnTo>
                    <a:pt x="7165" y="1236"/>
                  </a:lnTo>
                  <a:lnTo>
                    <a:pt x="7167" y="1224"/>
                  </a:lnTo>
                  <a:lnTo>
                    <a:pt x="7171" y="1213"/>
                  </a:lnTo>
                  <a:lnTo>
                    <a:pt x="7175" y="1201"/>
                  </a:lnTo>
                  <a:lnTo>
                    <a:pt x="7181" y="1191"/>
                  </a:lnTo>
                  <a:lnTo>
                    <a:pt x="7187" y="1182"/>
                  </a:lnTo>
                  <a:lnTo>
                    <a:pt x="7194" y="1173"/>
                  </a:lnTo>
                  <a:lnTo>
                    <a:pt x="7203" y="1167"/>
                  </a:lnTo>
                  <a:lnTo>
                    <a:pt x="7211" y="1160"/>
                  </a:lnTo>
                  <a:lnTo>
                    <a:pt x="7220" y="1155"/>
                  </a:lnTo>
                  <a:lnTo>
                    <a:pt x="7230" y="1151"/>
                  </a:lnTo>
                  <a:lnTo>
                    <a:pt x="7238" y="1147"/>
                  </a:lnTo>
                  <a:lnTo>
                    <a:pt x="7248" y="1144"/>
                  </a:lnTo>
                  <a:lnTo>
                    <a:pt x="7256" y="1143"/>
                  </a:lnTo>
                  <a:lnTo>
                    <a:pt x="7266" y="1141"/>
                  </a:lnTo>
                  <a:lnTo>
                    <a:pt x="7275" y="1141"/>
                  </a:lnTo>
                  <a:lnTo>
                    <a:pt x="7285" y="1140"/>
                  </a:lnTo>
                  <a:lnTo>
                    <a:pt x="7293" y="1140"/>
                  </a:lnTo>
                  <a:lnTo>
                    <a:pt x="7301" y="1139"/>
                  </a:lnTo>
                  <a:lnTo>
                    <a:pt x="7307" y="1139"/>
                  </a:lnTo>
                  <a:lnTo>
                    <a:pt x="7446" y="1139"/>
                  </a:lnTo>
                  <a:lnTo>
                    <a:pt x="7446" y="1360"/>
                  </a:lnTo>
                  <a:close/>
                  <a:moveTo>
                    <a:pt x="1070" y="2556"/>
                  </a:moveTo>
                  <a:lnTo>
                    <a:pt x="758" y="1848"/>
                  </a:lnTo>
                  <a:lnTo>
                    <a:pt x="645" y="1825"/>
                  </a:lnTo>
                  <a:lnTo>
                    <a:pt x="645" y="2684"/>
                  </a:lnTo>
                  <a:lnTo>
                    <a:pt x="763" y="2708"/>
                  </a:lnTo>
                  <a:lnTo>
                    <a:pt x="763" y="2120"/>
                  </a:lnTo>
                  <a:lnTo>
                    <a:pt x="1041" y="2763"/>
                  </a:lnTo>
                  <a:lnTo>
                    <a:pt x="1098" y="2775"/>
                  </a:lnTo>
                  <a:lnTo>
                    <a:pt x="1375" y="2241"/>
                  </a:lnTo>
                  <a:lnTo>
                    <a:pt x="1375" y="2830"/>
                  </a:lnTo>
                  <a:lnTo>
                    <a:pt x="1493" y="2853"/>
                  </a:lnTo>
                  <a:lnTo>
                    <a:pt x="1493" y="1994"/>
                  </a:lnTo>
                  <a:lnTo>
                    <a:pt x="1379" y="1970"/>
                  </a:lnTo>
                  <a:lnTo>
                    <a:pt x="1070" y="2556"/>
                  </a:lnTo>
                  <a:close/>
                  <a:moveTo>
                    <a:pt x="1855" y="2207"/>
                  </a:moveTo>
                  <a:lnTo>
                    <a:pt x="1871" y="2201"/>
                  </a:lnTo>
                  <a:lnTo>
                    <a:pt x="1887" y="2196"/>
                  </a:lnTo>
                  <a:lnTo>
                    <a:pt x="1905" y="2192"/>
                  </a:lnTo>
                  <a:lnTo>
                    <a:pt x="1923" y="2190"/>
                  </a:lnTo>
                  <a:lnTo>
                    <a:pt x="1943" y="2189"/>
                  </a:lnTo>
                  <a:lnTo>
                    <a:pt x="1964" y="2190"/>
                  </a:lnTo>
                  <a:lnTo>
                    <a:pt x="1985" y="2192"/>
                  </a:lnTo>
                  <a:lnTo>
                    <a:pt x="2007" y="2197"/>
                  </a:lnTo>
                  <a:lnTo>
                    <a:pt x="2032" y="2202"/>
                  </a:lnTo>
                  <a:lnTo>
                    <a:pt x="2055" y="2209"/>
                  </a:lnTo>
                  <a:lnTo>
                    <a:pt x="2079" y="2218"/>
                  </a:lnTo>
                  <a:lnTo>
                    <a:pt x="2100" y="2228"/>
                  </a:lnTo>
                  <a:lnTo>
                    <a:pt x="2120" y="2239"/>
                  </a:lnTo>
                  <a:lnTo>
                    <a:pt x="2139" y="2251"/>
                  </a:lnTo>
                  <a:lnTo>
                    <a:pt x="2157" y="2265"/>
                  </a:lnTo>
                  <a:lnTo>
                    <a:pt x="2174" y="2281"/>
                  </a:lnTo>
                  <a:lnTo>
                    <a:pt x="2189" y="2297"/>
                  </a:lnTo>
                  <a:lnTo>
                    <a:pt x="2203" y="2315"/>
                  </a:lnTo>
                  <a:lnTo>
                    <a:pt x="2216" y="2333"/>
                  </a:lnTo>
                  <a:lnTo>
                    <a:pt x="2228" y="2352"/>
                  </a:lnTo>
                  <a:lnTo>
                    <a:pt x="2239" y="2373"/>
                  </a:lnTo>
                  <a:lnTo>
                    <a:pt x="2247" y="2394"/>
                  </a:lnTo>
                  <a:lnTo>
                    <a:pt x="2256" y="2416"/>
                  </a:lnTo>
                  <a:lnTo>
                    <a:pt x="2262" y="2440"/>
                  </a:lnTo>
                  <a:lnTo>
                    <a:pt x="2389" y="2431"/>
                  </a:lnTo>
                  <a:lnTo>
                    <a:pt x="2384" y="2414"/>
                  </a:lnTo>
                  <a:lnTo>
                    <a:pt x="2379" y="2398"/>
                  </a:lnTo>
                  <a:lnTo>
                    <a:pt x="2373" y="2382"/>
                  </a:lnTo>
                  <a:lnTo>
                    <a:pt x="2367" y="2366"/>
                  </a:lnTo>
                  <a:lnTo>
                    <a:pt x="2359" y="2350"/>
                  </a:lnTo>
                  <a:lnTo>
                    <a:pt x="2352" y="2335"/>
                  </a:lnTo>
                  <a:lnTo>
                    <a:pt x="2344" y="2320"/>
                  </a:lnTo>
                  <a:lnTo>
                    <a:pt x="2336" y="2307"/>
                  </a:lnTo>
                  <a:lnTo>
                    <a:pt x="2327" y="2292"/>
                  </a:lnTo>
                  <a:lnTo>
                    <a:pt x="2318" y="2278"/>
                  </a:lnTo>
                  <a:lnTo>
                    <a:pt x="2308" y="2265"/>
                  </a:lnTo>
                  <a:lnTo>
                    <a:pt x="2299" y="2251"/>
                  </a:lnTo>
                  <a:lnTo>
                    <a:pt x="2288" y="2238"/>
                  </a:lnTo>
                  <a:lnTo>
                    <a:pt x="2277" y="2225"/>
                  </a:lnTo>
                  <a:lnTo>
                    <a:pt x="2266" y="2214"/>
                  </a:lnTo>
                  <a:lnTo>
                    <a:pt x="2254" y="2202"/>
                  </a:lnTo>
                  <a:lnTo>
                    <a:pt x="2241" y="2190"/>
                  </a:lnTo>
                  <a:lnTo>
                    <a:pt x="2228" y="2178"/>
                  </a:lnTo>
                  <a:lnTo>
                    <a:pt x="2215" y="2169"/>
                  </a:lnTo>
                  <a:lnTo>
                    <a:pt x="2202" y="2158"/>
                  </a:lnTo>
                  <a:lnTo>
                    <a:pt x="2188" y="2149"/>
                  </a:lnTo>
                  <a:lnTo>
                    <a:pt x="2173" y="2140"/>
                  </a:lnTo>
                  <a:lnTo>
                    <a:pt x="2158" y="2131"/>
                  </a:lnTo>
                  <a:lnTo>
                    <a:pt x="2143" y="2123"/>
                  </a:lnTo>
                  <a:lnTo>
                    <a:pt x="2128" y="2115"/>
                  </a:lnTo>
                  <a:lnTo>
                    <a:pt x="2112" y="2109"/>
                  </a:lnTo>
                  <a:lnTo>
                    <a:pt x="2095" y="2103"/>
                  </a:lnTo>
                  <a:lnTo>
                    <a:pt x="2078" y="2096"/>
                  </a:lnTo>
                  <a:lnTo>
                    <a:pt x="2061" y="2091"/>
                  </a:lnTo>
                  <a:lnTo>
                    <a:pt x="2044" y="2086"/>
                  </a:lnTo>
                  <a:lnTo>
                    <a:pt x="2026" y="2081"/>
                  </a:lnTo>
                  <a:lnTo>
                    <a:pt x="2007" y="2077"/>
                  </a:lnTo>
                  <a:lnTo>
                    <a:pt x="1975" y="2072"/>
                  </a:lnTo>
                  <a:lnTo>
                    <a:pt x="1946" y="2069"/>
                  </a:lnTo>
                  <a:lnTo>
                    <a:pt x="1916" y="2067"/>
                  </a:lnTo>
                  <a:lnTo>
                    <a:pt x="1888" y="2067"/>
                  </a:lnTo>
                  <a:lnTo>
                    <a:pt x="1874" y="2069"/>
                  </a:lnTo>
                  <a:lnTo>
                    <a:pt x="1861" y="2071"/>
                  </a:lnTo>
                  <a:lnTo>
                    <a:pt x="1847" y="2073"/>
                  </a:lnTo>
                  <a:lnTo>
                    <a:pt x="1836" y="2075"/>
                  </a:lnTo>
                  <a:lnTo>
                    <a:pt x="1823" y="2078"/>
                  </a:lnTo>
                  <a:lnTo>
                    <a:pt x="1811" y="2081"/>
                  </a:lnTo>
                  <a:lnTo>
                    <a:pt x="1799" y="2086"/>
                  </a:lnTo>
                  <a:lnTo>
                    <a:pt x="1788" y="2090"/>
                  </a:lnTo>
                  <a:lnTo>
                    <a:pt x="1765" y="2101"/>
                  </a:lnTo>
                  <a:lnTo>
                    <a:pt x="1745" y="2112"/>
                  </a:lnTo>
                  <a:lnTo>
                    <a:pt x="1726" y="2126"/>
                  </a:lnTo>
                  <a:lnTo>
                    <a:pt x="1708" y="2142"/>
                  </a:lnTo>
                  <a:lnTo>
                    <a:pt x="1691" y="2159"/>
                  </a:lnTo>
                  <a:lnTo>
                    <a:pt x="1676" y="2177"/>
                  </a:lnTo>
                  <a:lnTo>
                    <a:pt x="1662" y="2198"/>
                  </a:lnTo>
                  <a:lnTo>
                    <a:pt x="1649" y="2220"/>
                  </a:lnTo>
                  <a:lnTo>
                    <a:pt x="1637" y="2244"/>
                  </a:lnTo>
                  <a:lnTo>
                    <a:pt x="1628" y="2268"/>
                  </a:lnTo>
                  <a:lnTo>
                    <a:pt x="1619" y="2295"/>
                  </a:lnTo>
                  <a:lnTo>
                    <a:pt x="1613" y="2321"/>
                  </a:lnTo>
                  <a:lnTo>
                    <a:pt x="1607" y="2350"/>
                  </a:lnTo>
                  <a:lnTo>
                    <a:pt x="1604" y="2380"/>
                  </a:lnTo>
                  <a:lnTo>
                    <a:pt x="1601" y="2412"/>
                  </a:lnTo>
                  <a:lnTo>
                    <a:pt x="1601" y="2444"/>
                  </a:lnTo>
                  <a:lnTo>
                    <a:pt x="1601" y="2477"/>
                  </a:lnTo>
                  <a:lnTo>
                    <a:pt x="1604" y="2509"/>
                  </a:lnTo>
                  <a:lnTo>
                    <a:pt x="1607" y="2541"/>
                  </a:lnTo>
                  <a:lnTo>
                    <a:pt x="1613" y="2572"/>
                  </a:lnTo>
                  <a:lnTo>
                    <a:pt x="1619" y="2602"/>
                  </a:lnTo>
                  <a:lnTo>
                    <a:pt x="1628" y="2632"/>
                  </a:lnTo>
                  <a:lnTo>
                    <a:pt x="1637" y="2660"/>
                  </a:lnTo>
                  <a:lnTo>
                    <a:pt x="1649" y="2689"/>
                  </a:lnTo>
                  <a:lnTo>
                    <a:pt x="1662" y="2715"/>
                  </a:lnTo>
                  <a:lnTo>
                    <a:pt x="1676" y="2741"/>
                  </a:lnTo>
                  <a:lnTo>
                    <a:pt x="1691" y="2767"/>
                  </a:lnTo>
                  <a:lnTo>
                    <a:pt x="1708" y="2790"/>
                  </a:lnTo>
                  <a:lnTo>
                    <a:pt x="1726" y="2812"/>
                  </a:lnTo>
                  <a:lnTo>
                    <a:pt x="1745" y="2834"/>
                  </a:lnTo>
                  <a:lnTo>
                    <a:pt x="1765" y="2854"/>
                  </a:lnTo>
                  <a:lnTo>
                    <a:pt x="1788" y="2873"/>
                  </a:lnTo>
                  <a:lnTo>
                    <a:pt x="1811" y="2891"/>
                  </a:lnTo>
                  <a:lnTo>
                    <a:pt x="1836" y="2907"/>
                  </a:lnTo>
                  <a:lnTo>
                    <a:pt x="1861" y="2922"/>
                  </a:lnTo>
                  <a:lnTo>
                    <a:pt x="1888" y="2935"/>
                  </a:lnTo>
                  <a:lnTo>
                    <a:pt x="1916" y="2947"/>
                  </a:lnTo>
                  <a:lnTo>
                    <a:pt x="1946" y="2958"/>
                  </a:lnTo>
                  <a:lnTo>
                    <a:pt x="1975" y="2966"/>
                  </a:lnTo>
                  <a:lnTo>
                    <a:pt x="2007" y="2974"/>
                  </a:lnTo>
                  <a:lnTo>
                    <a:pt x="2026" y="2977"/>
                  </a:lnTo>
                  <a:lnTo>
                    <a:pt x="2044" y="2979"/>
                  </a:lnTo>
                  <a:lnTo>
                    <a:pt x="2061" y="2981"/>
                  </a:lnTo>
                  <a:lnTo>
                    <a:pt x="2078" y="2982"/>
                  </a:lnTo>
                  <a:lnTo>
                    <a:pt x="2095" y="2983"/>
                  </a:lnTo>
                  <a:lnTo>
                    <a:pt x="2112" y="2983"/>
                  </a:lnTo>
                  <a:lnTo>
                    <a:pt x="2128" y="2983"/>
                  </a:lnTo>
                  <a:lnTo>
                    <a:pt x="2143" y="2981"/>
                  </a:lnTo>
                  <a:lnTo>
                    <a:pt x="2158" y="2979"/>
                  </a:lnTo>
                  <a:lnTo>
                    <a:pt x="2173" y="2977"/>
                  </a:lnTo>
                  <a:lnTo>
                    <a:pt x="2188" y="2974"/>
                  </a:lnTo>
                  <a:lnTo>
                    <a:pt x="2202" y="2969"/>
                  </a:lnTo>
                  <a:lnTo>
                    <a:pt x="2215" y="2965"/>
                  </a:lnTo>
                  <a:lnTo>
                    <a:pt x="2228" y="2960"/>
                  </a:lnTo>
                  <a:lnTo>
                    <a:pt x="2241" y="2953"/>
                  </a:lnTo>
                  <a:lnTo>
                    <a:pt x="2254" y="2947"/>
                  </a:lnTo>
                  <a:lnTo>
                    <a:pt x="2266" y="2939"/>
                  </a:lnTo>
                  <a:lnTo>
                    <a:pt x="2277" y="2932"/>
                  </a:lnTo>
                  <a:lnTo>
                    <a:pt x="2288" y="2923"/>
                  </a:lnTo>
                  <a:lnTo>
                    <a:pt x="2299" y="2915"/>
                  </a:lnTo>
                  <a:lnTo>
                    <a:pt x="2308" y="2905"/>
                  </a:lnTo>
                  <a:lnTo>
                    <a:pt x="2318" y="2896"/>
                  </a:lnTo>
                  <a:lnTo>
                    <a:pt x="2327" y="2886"/>
                  </a:lnTo>
                  <a:lnTo>
                    <a:pt x="2336" y="2875"/>
                  </a:lnTo>
                  <a:lnTo>
                    <a:pt x="2344" y="2864"/>
                  </a:lnTo>
                  <a:lnTo>
                    <a:pt x="2352" y="2852"/>
                  </a:lnTo>
                  <a:lnTo>
                    <a:pt x="2359" y="2840"/>
                  </a:lnTo>
                  <a:lnTo>
                    <a:pt x="2367" y="2827"/>
                  </a:lnTo>
                  <a:lnTo>
                    <a:pt x="2373" y="2814"/>
                  </a:lnTo>
                  <a:lnTo>
                    <a:pt x="2379" y="2801"/>
                  </a:lnTo>
                  <a:lnTo>
                    <a:pt x="2384" y="2786"/>
                  </a:lnTo>
                  <a:lnTo>
                    <a:pt x="2389" y="2772"/>
                  </a:lnTo>
                  <a:lnTo>
                    <a:pt x="2262" y="2712"/>
                  </a:lnTo>
                  <a:lnTo>
                    <a:pt x="2256" y="2732"/>
                  </a:lnTo>
                  <a:lnTo>
                    <a:pt x="2247" y="2752"/>
                  </a:lnTo>
                  <a:lnTo>
                    <a:pt x="2239" y="2770"/>
                  </a:lnTo>
                  <a:lnTo>
                    <a:pt x="2228" y="2786"/>
                  </a:lnTo>
                  <a:lnTo>
                    <a:pt x="2216" y="2800"/>
                  </a:lnTo>
                  <a:lnTo>
                    <a:pt x="2203" y="2814"/>
                  </a:lnTo>
                  <a:lnTo>
                    <a:pt x="2189" y="2825"/>
                  </a:lnTo>
                  <a:lnTo>
                    <a:pt x="2174" y="2836"/>
                  </a:lnTo>
                  <a:lnTo>
                    <a:pt x="2165" y="2840"/>
                  </a:lnTo>
                  <a:lnTo>
                    <a:pt x="2157" y="2844"/>
                  </a:lnTo>
                  <a:lnTo>
                    <a:pt x="2148" y="2849"/>
                  </a:lnTo>
                  <a:lnTo>
                    <a:pt x="2139" y="2852"/>
                  </a:lnTo>
                  <a:lnTo>
                    <a:pt x="2120" y="2856"/>
                  </a:lnTo>
                  <a:lnTo>
                    <a:pt x="2100" y="2859"/>
                  </a:lnTo>
                  <a:lnTo>
                    <a:pt x="2079" y="2862"/>
                  </a:lnTo>
                  <a:lnTo>
                    <a:pt x="2055" y="2860"/>
                  </a:lnTo>
                  <a:lnTo>
                    <a:pt x="2032" y="2858"/>
                  </a:lnTo>
                  <a:lnTo>
                    <a:pt x="2007" y="2854"/>
                  </a:lnTo>
                  <a:lnTo>
                    <a:pt x="1985" y="2850"/>
                  </a:lnTo>
                  <a:lnTo>
                    <a:pt x="1964" y="2843"/>
                  </a:lnTo>
                  <a:lnTo>
                    <a:pt x="1943" y="2836"/>
                  </a:lnTo>
                  <a:lnTo>
                    <a:pt x="1923" y="2827"/>
                  </a:lnTo>
                  <a:lnTo>
                    <a:pt x="1905" y="2818"/>
                  </a:lnTo>
                  <a:lnTo>
                    <a:pt x="1887" y="2807"/>
                  </a:lnTo>
                  <a:lnTo>
                    <a:pt x="1871" y="2795"/>
                  </a:lnTo>
                  <a:lnTo>
                    <a:pt x="1855" y="2783"/>
                  </a:lnTo>
                  <a:lnTo>
                    <a:pt x="1840" y="2769"/>
                  </a:lnTo>
                  <a:lnTo>
                    <a:pt x="1826" y="2755"/>
                  </a:lnTo>
                  <a:lnTo>
                    <a:pt x="1813" y="2739"/>
                  </a:lnTo>
                  <a:lnTo>
                    <a:pt x="1802" y="2723"/>
                  </a:lnTo>
                  <a:lnTo>
                    <a:pt x="1790" y="2706"/>
                  </a:lnTo>
                  <a:lnTo>
                    <a:pt x="1780" y="2688"/>
                  </a:lnTo>
                  <a:lnTo>
                    <a:pt x="1771" y="2669"/>
                  </a:lnTo>
                  <a:lnTo>
                    <a:pt x="1763" y="2649"/>
                  </a:lnTo>
                  <a:lnTo>
                    <a:pt x="1756" y="2629"/>
                  </a:lnTo>
                  <a:lnTo>
                    <a:pt x="1749" y="2609"/>
                  </a:lnTo>
                  <a:lnTo>
                    <a:pt x="1744" y="2586"/>
                  </a:lnTo>
                  <a:lnTo>
                    <a:pt x="1740" y="2565"/>
                  </a:lnTo>
                  <a:lnTo>
                    <a:pt x="1736" y="2542"/>
                  </a:lnTo>
                  <a:lnTo>
                    <a:pt x="1734" y="2519"/>
                  </a:lnTo>
                  <a:lnTo>
                    <a:pt x="1733" y="2495"/>
                  </a:lnTo>
                  <a:lnTo>
                    <a:pt x="1732" y="2471"/>
                  </a:lnTo>
                  <a:lnTo>
                    <a:pt x="1733" y="2446"/>
                  </a:lnTo>
                  <a:lnTo>
                    <a:pt x="1734" y="2424"/>
                  </a:lnTo>
                  <a:lnTo>
                    <a:pt x="1736" y="2402"/>
                  </a:lnTo>
                  <a:lnTo>
                    <a:pt x="1741" y="2380"/>
                  </a:lnTo>
                  <a:lnTo>
                    <a:pt x="1745" y="2360"/>
                  </a:lnTo>
                  <a:lnTo>
                    <a:pt x="1750" y="2341"/>
                  </a:lnTo>
                  <a:lnTo>
                    <a:pt x="1756" y="2321"/>
                  </a:lnTo>
                  <a:lnTo>
                    <a:pt x="1763" y="2304"/>
                  </a:lnTo>
                  <a:lnTo>
                    <a:pt x="1772" y="2288"/>
                  </a:lnTo>
                  <a:lnTo>
                    <a:pt x="1780" y="2272"/>
                  </a:lnTo>
                  <a:lnTo>
                    <a:pt x="1791" y="2259"/>
                  </a:lnTo>
                  <a:lnTo>
                    <a:pt x="1802" y="2246"/>
                  </a:lnTo>
                  <a:lnTo>
                    <a:pt x="1813" y="2235"/>
                  </a:lnTo>
                  <a:lnTo>
                    <a:pt x="1826" y="2224"/>
                  </a:lnTo>
                  <a:lnTo>
                    <a:pt x="1840" y="2215"/>
                  </a:lnTo>
                  <a:lnTo>
                    <a:pt x="1855" y="2207"/>
                  </a:lnTo>
                  <a:close/>
                  <a:moveTo>
                    <a:pt x="2633" y="2337"/>
                  </a:moveTo>
                  <a:lnTo>
                    <a:pt x="3068" y="2424"/>
                  </a:lnTo>
                  <a:lnTo>
                    <a:pt x="3068" y="3166"/>
                  </a:lnTo>
                  <a:lnTo>
                    <a:pt x="3192" y="3190"/>
                  </a:lnTo>
                  <a:lnTo>
                    <a:pt x="3192" y="2331"/>
                  </a:lnTo>
                  <a:lnTo>
                    <a:pt x="2509" y="2194"/>
                  </a:lnTo>
                  <a:lnTo>
                    <a:pt x="2509" y="3055"/>
                  </a:lnTo>
                  <a:lnTo>
                    <a:pt x="2633" y="3079"/>
                  </a:lnTo>
                  <a:lnTo>
                    <a:pt x="2633" y="2337"/>
                  </a:lnTo>
                  <a:close/>
                  <a:moveTo>
                    <a:pt x="2659" y="535"/>
                  </a:moveTo>
                  <a:lnTo>
                    <a:pt x="0" y="0"/>
                  </a:lnTo>
                  <a:lnTo>
                    <a:pt x="0" y="2523"/>
                  </a:lnTo>
                  <a:lnTo>
                    <a:pt x="106" y="2547"/>
                  </a:lnTo>
                  <a:lnTo>
                    <a:pt x="106" y="133"/>
                  </a:lnTo>
                  <a:lnTo>
                    <a:pt x="2655" y="640"/>
                  </a:lnTo>
                  <a:lnTo>
                    <a:pt x="2659" y="535"/>
                  </a:lnTo>
                  <a:close/>
                  <a:moveTo>
                    <a:pt x="3762" y="3829"/>
                  </a:moveTo>
                  <a:lnTo>
                    <a:pt x="2555" y="3588"/>
                  </a:lnTo>
                  <a:lnTo>
                    <a:pt x="2555" y="3693"/>
                  </a:lnTo>
                  <a:lnTo>
                    <a:pt x="3868" y="3962"/>
                  </a:lnTo>
                  <a:lnTo>
                    <a:pt x="3868" y="2715"/>
                  </a:lnTo>
                  <a:lnTo>
                    <a:pt x="3762" y="2688"/>
                  </a:lnTo>
                  <a:lnTo>
                    <a:pt x="3762" y="38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B1E15F3F-12B1-8793-B06D-0B2078811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08833" y="378561"/>
              <a:ext cx="1033529" cy="219288"/>
            </a:xfrm>
            <a:custGeom>
              <a:avLst/>
              <a:gdLst>
                <a:gd name="T0" fmla="*/ 1171 w 16100"/>
                <a:gd name="T1" fmla="*/ 712 h 3416"/>
                <a:gd name="T2" fmla="*/ 1871 w 16100"/>
                <a:gd name="T3" fmla="*/ 1146 h 3416"/>
                <a:gd name="T4" fmla="*/ 2109 w 16100"/>
                <a:gd name="T5" fmla="*/ 843 h 3416"/>
                <a:gd name="T6" fmla="*/ 2496 w 16100"/>
                <a:gd name="T7" fmla="*/ 697 h 3416"/>
                <a:gd name="T8" fmla="*/ 2840 w 16100"/>
                <a:gd name="T9" fmla="*/ 718 h 3416"/>
                <a:gd name="T10" fmla="*/ 3069 w 16100"/>
                <a:gd name="T11" fmla="*/ 832 h 3416"/>
                <a:gd name="T12" fmla="*/ 3243 w 16100"/>
                <a:gd name="T13" fmla="*/ 1027 h 3416"/>
                <a:gd name="T14" fmla="*/ 2781 w 16100"/>
                <a:gd name="T15" fmla="*/ 985 h 3416"/>
                <a:gd name="T16" fmla="*/ 2544 w 16100"/>
                <a:gd name="T17" fmla="*/ 956 h 3416"/>
                <a:gd name="T18" fmla="*/ 2315 w 16100"/>
                <a:gd name="T19" fmla="*/ 1050 h 3416"/>
                <a:gd name="T20" fmla="*/ 2178 w 16100"/>
                <a:gd name="T21" fmla="*/ 1244 h 3416"/>
                <a:gd name="T22" fmla="*/ 2159 w 16100"/>
                <a:gd name="T23" fmla="*/ 1499 h 3416"/>
                <a:gd name="T24" fmla="*/ 2267 w 16100"/>
                <a:gd name="T25" fmla="*/ 1714 h 3416"/>
                <a:gd name="T26" fmla="*/ 2474 w 16100"/>
                <a:gd name="T27" fmla="*/ 1839 h 3416"/>
                <a:gd name="T28" fmla="*/ 2755 w 16100"/>
                <a:gd name="T29" fmla="*/ 1834 h 3416"/>
                <a:gd name="T30" fmla="*/ 2969 w 16100"/>
                <a:gd name="T31" fmla="*/ 1657 h 3416"/>
                <a:gd name="T32" fmla="*/ 3085 w 16100"/>
                <a:gd name="T33" fmla="*/ 1963 h 3416"/>
                <a:gd name="T34" fmla="*/ 2864 w 16100"/>
                <a:gd name="T35" fmla="*/ 2083 h 3416"/>
                <a:gd name="T36" fmla="*/ 2536 w 16100"/>
                <a:gd name="T37" fmla="*/ 2116 h 3416"/>
                <a:gd name="T38" fmla="*/ 2139 w 16100"/>
                <a:gd name="T39" fmla="*/ 1986 h 3416"/>
                <a:gd name="T40" fmla="*/ 1885 w 16100"/>
                <a:gd name="T41" fmla="*/ 1695 h 3416"/>
                <a:gd name="T42" fmla="*/ 3731 w 16100"/>
                <a:gd name="T43" fmla="*/ 971 h 3416"/>
                <a:gd name="T44" fmla="*/ 6287 w 16100"/>
                <a:gd name="T45" fmla="*/ 1216 h 3416"/>
                <a:gd name="T46" fmla="*/ 6564 w 16100"/>
                <a:gd name="T47" fmla="*/ 1280 h 3416"/>
                <a:gd name="T48" fmla="*/ 6732 w 16100"/>
                <a:gd name="T49" fmla="*/ 1447 h 3416"/>
                <a:gd name="T50" fmla="*/ 6782 w 16100"/>
                <a:gd name="T51" fmla="*/ 1677 h 3416"/>
                <a:gd name="T52" fmla="*/ 6710 w 16100"/>
                <a:gd name="T53" fmla="*/ 1899 h 3416"/>
                <a:gd name="T54" fmla="*/ 6523 w 16100"/>
                <a:gd name="T55" fmla="*/ 2050 h 3416"/>
                <a:gd name="T56" fmla="*/ 5582 w 16100"/>
                <a:gd name="T57" fmla="*/ 712 h 3416"/>
                <a:gd name="T58" fmla="*/ 6367 w 16100"/>
                <a:gd name="T59" fmla="*/ 1807 h 3416"/>
                <a:gd name="T60" fmla="*/ 6451 w 16100"/>
                <a:gd name="T61" fmla="*/ 1703 h 3416"/>
                <a:gd name="T62" fmla="*/ 6448 w 16100"/>
                <a:gd name="T63" fmla="*/ 1597 h 3416"/>
                <a:gd name="T64" fmla="*/ 6348 w 16100"/>
                <a:gd name="T65" fmla="*/ 1494 h 3416"/>
                <a:gd name="T66" fmla="*/ 7555 w 16100"/>
                <a:gd name="T67" fmla="*/ 2033 h 3416"/>
                <a:gd name="T68" fmla="*/ 7311 w 16100"/>
                <a:gd name="T69" fmla="*/ 2117 h 3416"/>
                <a:gd name="T70" fmla="*/ 7111 w 16100"/>
                <a:gd name="T71" fmla="*/ 2094 h 3416"/>
                <a:gd name="T72" fmla="*/ 6957 w 16100"/>
                <a:gd name="T73" fmla="*/ 1991 h 3416"/>
                <a:gd name="T74" fmla="*/ 6884 w 16100"/>
                <a:gd name="T75" fmla="*/ 1808 h 3416"/>
                <a:gd name="T76" fmla="*/ 6936 w 16100"/>
                <a:gd name="T77" fmla="*/ 1609 h 3416"/>
                <a:gd name="T78" fmla="*/ 7080 w 16100"/>
                <a:gd name="T79" fmla="*/ 1499 h 3416"/>
                <a:gd name="T80" fmla="*/ 7259 w 16100"/>
                <a:gd name="T81" fmla="*/ 1465 h 3416"/>
                <a:gd name="T82" fmla="*/ 7520 w 16100"/>
                <a:gd name="T83" fmla="*/ 1523 h 3416"/>
                <a:gd name="T84" fmla="*/ 7595 w 16100"/>
                <a:gd name="T85" fmla="*/ 1407 h 3416"/>
                <a:gd name="T86" fmla="*/ 7503 w 16100"/>
                <a:gd name="T87" fmla="*/ 1310 h 3416"/>
                <a:gd name="T88" fmla="*/ 7258 w 16100"/>
                <a:gd name="T89" fmla="*/ 1296 h 3416"/>
                <a:gd name="T90" fmla="*/ 7049 w 16100"/>
                <a:gd name="T91" fmla="*/ 1402 h 3416"/>
                <a:gd name="T92" fmla="*/ 7224 w 16100"/>
                <a:gd name="T93" fmla="*/ 1090 h 3416"/>
                <a:gd name="T94" fmla="*/ 7527 w 16100"/>
                <a:gd name="T95" fmla="*/ 1076 h 3416"/>
                <a:gd name="T96" fmla="*/ 7742 w 16100"/>
                <a:gd name="T97" fmla="*/ 1150 h 3416"/>
                <a:gd name="T98" fmla="*/ 7871 w 16100"/>
                <a:gd name="T99" fmla="*/ 1326 h 3416"/>
                <a:gd name="T100" fmla="*/ 7592 w 16100"/>
                <a:gd name="T101" fmla="*/ 1720 h 3416"/>
                <a:gd name="T102" fmla="*/ 7441 w 16100"/>
                <a:gd name="T103" fmla="*/ 1648 h 3416"/>
                <a:gd name="T104" fmla="*/ 7244 w 16100"/>
                <a:gd name="T105" fmla="*/ 1672 h 3416"/>
                <a:gd name="T106" fmla="*/ 7172 w 16100"/>
                <a:gd name="T107" fmla="*/ 1776 h 3416"/>
                <a:gd name="T108" fmla="*/ 7195 w 16100"/>
                <a:gd name="T109" fmla="*/ 1870 h 3416"/>
                <a:gd name="T110" fmla="*/ 7374 w 16100"/>
                <a:gd name="T111" fmla="*/ 1941 h 3416"/>
                <a:gd name="T112" fmla="*/ 7547 w 16100"/>
                <a:gd name="T113" fmla="*/ 1900 h 3416"/>
                <a:gd name="T114" fmla="*/ 8878 w 16100"/>
                <a:gd name="T115" fmla="*/ 1094 h 3416"/>
                <a:gd name="T116" fmla="*/ 9709 w 16100"/>
                <a:gd name="T117" fmla="*/ 2095 h 3416"/>
                <a:gd name="T118" fmla="*/ 13892 w 16100"/>
                <a:gd name="T119" fmla="*/ 3416 h 3416"/>
                <a:gd name="T120" fmla="*/ 14648 w 16100"/>
                <a:gd name="T121" fmla="*/ 1078 h 3416"/>
                <a:gd name="T122" fmla="*/ 13021 w 16100"/>
                <a:gd name="T123" fmla="*/ 1191 h 3416"/>
                <a:gd name="T124" fmla="*/ 10883 w 16100"/>
                <a:gd name="T125" fmla="*/ 0 h 3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00" h="3416">
                  <a:moveTo>
                    <a:pt x="1299" y="2095"/>
                  </a:moveTo>
                  <a:lnTo>
                    <a:pt x="1299" y="1127"/>
                  </a:lnTo>
                  <a:lnTo>
                    <a:pt x="878" y="2095"/>
                  </a:lnTo>
                  <a:lnTo>
                    <a:pt x="739" y="2095"/>
                  </a:lnTo>
                  <a:lnTo>
                    <a:pt x="318" y="1127"/>
                  </a:lnTo>
                  <a:lnTo>
                    <a:pt x="318" y="2095"/>
                  </a:lnTo>
                  <a:lnTo>
                    <a:pt x="0" y="2095"/>
                  </a:lnTo>
                  <a:lnTo>
                    <a:pt x="0" y="712"/>
                  </a:lnTo>
                  <a:lnTo>
                    <a:pt x="446" y="712"/>
                  </a:lnTo>
                  <a:lnTo>
                    <a:pt x="808" y="1547"/>
                  </a:lnTo>
                  <a:lnTo>
                    <a:pt x="1171" y="712"/>
                  </a:lnTo>
                  <a:lnTo>
                    <a:pt x="1619" y="712"/>
                  </a:lnTo>
                  <a:lnTo>
                    <a:pt x="1619" y="2095"/>
                  </a:lnTo>
                  <a:lnTo>
                    <a:pt x="1299" y="2095"/>
                  </a:lnTo>
                  <a:close/>
                  <a:moveTo>
                    <a:pt x="1823" y="1404"/>
                  </a:moveTo>
                  <a:lnTo>
                    <a:pt x="1824" y="1365"/>
                  </a:lnTo>
                  <a:lnTo>
                    <a:pt x="1827" y="1326"/>
                  </a:lnTo>
                  <a:lnTo>
                    <a:pt x="1832" y="1288"/>
                  </a:lnTo>
                  <a:lnTo>
                    <a:pt x="1838" y="1252"/>
                  </a:lnTo>
                  <a:lnTo>
                    <a:pt x="1847" y="1216"/>
                  </a:lnTo>
                  <a:lnTo>
                    <a:pt x="1859" y="1180"/>
                  </a:lnTo>
                  <a:lnTo>
                    <a:pt x="1871" y="1146"/>
                  </a:lnTo>
                  <a:lnTo>
                    <a:pt x="1885" y="1113"/>
                  </a:lnTo>
                  <a:lnTo>
                    <a:pt x="1900" y="1082"/>
                  </a:lnTo>
                  <a:lnTo>
                    <a:pt x="1917" y="1050"/>
                  </a:lnTo>
                  <a:lnTo>
                    <a:pt x="1936" y="1020"/>
                  </a:lnTo>
                  <a:lnTo>
                    <a:pt x="1957" y="991"/>
                  </a:lnTo>
                  <a:lnTo>
                    <a:pt x="1978" y="964"/>
                  </a:lnTo>
                  <a:lnTo>
                    <a:pt x="2001" y="936"/>
                  </a:lnTo>
                  <a:lnTo>
                    <a:pt x="2027" y="911"/>
                  </a:lnTo>
                  <a:lnTo>
                    <a:pt x="2053" y="887"/>
                  </a:lnTo>
                  <a:lnTo>
                    <a:pt x="2080" y="864"/>
                  </a:lnTo>
                  <a:lnTo>
                    <a:pt x="2109" y="843"/>
                  </a:lnTo>
                  <a:lnTo>
                    <a:pt x="2139" y="823"/>
                  </a:lnTo>
                  <a:lnTo>
                    <a:pt x="2169" y="803"/>
                  </a:lnTo>
                  <a:lnTo>
                    <a:pt x="2202" y="785"/>
                  </a:lnTo>
                  <a:lnTo>
                    <a:pt x="2236" y="769"/>
                  </a:lnTo>
                  <a:lnTo>
                    <a:pt x="2270" y="754"/>
                  </a:lnTo>
                  <a:lnTo>
                    <a:pt x="2305" y="741"/>
                  </a:lnTo>
                  <a:lnTo>
                    <a:pt x="2342" y="729"/>
                  </a:lnTo>
                  <a:lnTo>
                    <a:pt x="2379" y="719"/>
                  </a:lnTo>
                  <a:lnTo>
                    <a:pt x="2417" y="710"/>
                  </a:lnTo>
                  <a:lnTo>
                    <a:pt x="2455" y="703"/>
                  </a:lnTo>
                  <a:lnTo>
                    <a:pt x="2496" y="697"/>
                  </a:lnTo>
                  <a:lnTo>
                    <a:pt x="2536" y="692"/>
                  </a:lnTo>
                  <a:lnTo>
                    <a:pt x="2577" y="689"/>
                  </a:lnTo>
                  <a:lnTo>
                    <a:pt x="2618" y="689"/>
                  </a:lnTo>
                  <a:lnTo>
                    <a:pt x="2648" y="689"/>
                  </a:lnTo>
                  <a:lnTo>
                    <a:pt x="2679" y="690"/>
                  </a:lnTo>
                  <a:lnTo>
                    <a:pt x="2707" y="693"/>
                  </a:lnTo>
                  <a:lnTo>
                    <a:pt x="2735" y="697"/>
                  </a:lnTo>
                  <a:lnTo>
                    <a:pt x="2762" y="701"/>
                  </a:lnTo>
                  <a:lnTo>
                    <a:pt x="2789" y="706"/>
                  </a:lnTo>
                  <a:lnTo>
                    <a:pt x="2814" y="712"/>
                  </a:lnTo>
                  <a:lnTo>
                    <a:pt x="2840" y="718"/>
                  </a:lnTo>
                  <a:lnTo>
                    <a:pt x="2865" y="725"/>
                  </a:lnTo>
                  <a:lnTo>
                    <a:pt x="2888" y="733"/>
                  </a:lnTo>
                  <a:lnTo>
                    <a:pt x="2911" y="742"/>
                  </a:lnTo>
                  <a:lnTo>
                    <a:pt x="2933" y="751"/>
                  </a:lnTo>
                  <a:lnTo>
                    <a:pt x="2954" y="761"/>
                  </a:lnTo>
                  <a:lnTo>
                    <a:pt x="2975" y="771"/>
                  </a:lnTo>
                  <a:lnTo>
                    <a:pt x="2996" y="782"/>
                  </a:lnTo>
                  <a:lnTo>
                    <a:pt x="3015" y="793"/>
                  </a:lnTo>
                  <a:lnTo>
                    <a:pt x="3034" y="805"/>
                  </a:lnTo>
                  <a:lnTo>
                    <a:pt x="3052" y="818"/>
                  </a:lnTo>
                  <a:lnTo>
                    <a:pt x="3069" y="832"/>
                  </a:lnTo>
                  <a:lnTo>
                    <a:pt x="3086" y="845"/>
                  </a:lnTo>
                  <a:lnTo>
                    <a:pt x="3102" y="859"/>
                  </a:lnTo>
                  <a:lnTo>
                    <a:pt x="3118" y="873"/>
                  </a:lnTo>
                  <a:lnTo>
                    <a:pt x="3132" y="887"/>
                  </a:lnTo>
                  <a:lnTo>
                    <a:pt x="3148" y="902"/>
                  </a:lnTo>
                  <a:lnTo>
                    <a:pt x="3162" y="916"/>
                  </a:lnTo>
                  <a:lnTo>
                    <a:pt x="3175" y="932"/>
                  </a:lnTo>
                  <a:lnTo>
                    <a:pt x="3188" y="947"/>
                  </a:lnTo>
                  <a:lnTo>
                    <a:pt x="3200" y="964"/>
                  </a:lnTo>
                  <a:lnTo>
                    <a:pt x="3222" y="995"/>
                  </a:lnTo>
                  <a:lnTo>
                    <a:pt x="3243" y="1027"/>
                  </a:lnTo>
                  <a:lnTo>
                    <a:pt x="2969" y="1152"/>
                  </a:lnTo>
                  <a:lnTo>
                    <a:pt x="2957" y="1131"/>
                  </a:lnTo>
                  <a:lnTo>
                    <a:pt x="2943" y="1111"/>
                  </a:lnTo>
                  <a:lnTo>
                    <a:pt x="2927" y="1092"/>
                  </a:lnTo>
                  <a:lnTo>
                    <a:pt x="2910" y="1073"/>
                  </a:lnTo>
                  <a:lnTo>
                    <a:pt x="2892" y="1055"/>
                  </a:lnTo>
                  <a:lnTo>
                    <a:pt x="2872" y="1039"/>
                  </a:lnTo>
                  <a:lnTo>
                    <a:pt x="2851" y="1023"/>
                  </a:lnTo>
                  <a:lnTo>
                    <a:pt x="2829" y="1009"/>
                  </a:lnTo>
                  <a:lnTo>
                    <a:pt x="2805" y="996"/>
                  </a:lnTo>
                  <a:lnTo>
                    <a:pt x="2781" y="985"/>
                  </a:lnTo>
                  <a:lnTo>
                    <a:pt x="2755" y="975"/>
                  </a:lnTo>
                  <a:lnTo>
                    <a:pt x="2730" y="966"/>
                  </a:lnTo>
                  <a:lnTo>
                    <a:pt x="2703" y="960"/>
                  </a:lnTo>
                  <a:lnTo>
                    <a:pt x="2675" y="955"/>
                  </a:lnTo>
                  <a:lnTo>
                    <a:pt x="2662" y="953"/>
                  </a:lnTo>
                  <a:lnTo>
                    <a:pt x="2647" y="952"/>
                  </a:lnTo>
                  <a:lnTo>
                    <a:pt x="2632" y="951"/>
                  </a:lnTo>
                  <a:lnTo>
                    <a:pt x="2618" y="951"/>
                  </a:lnTo>
                  <a:lnTo>
                    <a:pt x="2593" y="951"/>
                  </a:lnTo>
                  <a:lnTo>
                    <a:pt x="2568" y="953"/>
                  </a:lnTo>
                  <a:lnTo>
                    <a:pt x="2544" y="956"/>
                  </a:lnTo>
                  <a:lnTo>
                    <a:pt x="2521" y="960"/>
                  </a:lnTo>
                  <a:lnTo>
                    <a:pt x="2498" y="964"/>
                  </a:lnTo>
                  <a:lnTo>
                    <a:pt x="2474" y="970"/>
                  </a:lnTo>
                  <a:lnTo>
                    <a:pt x="2452" y="977"/>
                  </a:lnTo>
                  <a:lnTo>
                    <a:pt x="2431" y="985"/>
                  </a:lnTo>
                  <a:lnTo>
                    <a:pt x="2410" y="994"/>
                  </a:lnTo>
                  <a:lnTo>
                    <a:pt x="2390" y="1003"/>
                  </a:lnTo>
                  <a:lnTo>
                    <a:pt x="2370" y="1014"/>
                  </a:lnTo>
                  <a:lnTo>
                    <a:pt x="2352" y="1025"/>
                  </a:lnTo>
                  <a:lnTo>
                    <a:pt x="2332" y="1037"/>
                  </a:lnTo>
                  <a:lnTo>
                    <a:pt x="2315" y="1050"/>
                  </a:lnTo>
                  <a:lnTo>
                    <a:pt x="2298" y="1064"/>
                  </a:lnTo>
                  <a:lnTo>
                    <a:pt x="2282" y="1080"/>
                  </a:lnTo>
                  <a:lnTo>
                    <a:pt x="2267" y="1095"/>
                  </a:lnTo>
                  <a:lnTo>
                    <a:pt x="2253" y="1111"/>
                  </a:lnTo>
                  <a:lnTo>
                    <a:pt x="2240" y="1128"/>
                  </a:lnTo>
                  <a:lnTo>
                    <a:pt x="2227" y="1146"/>
                  </a:lnTo>
                  <a:lnTo>
                    <a:pt x="2215" y="1164"/>
                  </a:lnTo>
                  <a:lnTo>
                    <a:pt x="2205" y="1183"/>
                  </a:lnTo>
                  <a:lnTo>
                    <a:pt x="2195" y="1203"/>
                  </a:lnTo>
                  <a:lnTo>
                    <a:pt x="2186" y="1224"/>
                  </a:lnTo>
                  <a:lnTo>
                    <a:pt x="2178" y="1244"/>
                  </a:lnTo>
                  <a:lnTo>
                    <a:pt x="2170" y="1265"/>
                  </a:lnTo>
                  <a:lnTo>
                    <a:pt x="2164" y="1287"/>
                  </a:lnTo>
                  <a:lnTo>
                    <a:pt x="2159" y="1309"/>
                  </a:lnTo>
                  <a:lnTo>
                    <a:pt x="2155" y="1333"/>
                  </a:lnTo>
                  <a:lnTo>
                    <a:pt x="2152" y="1356"/>
                  </a:lnTo>
                  <a:lnTo>
                    <a:pt x="2150" y="1380"/>
                  </a:lnTo>
                  <a:lnTo>
                    <a:pt x="2150" y="1404"/>
                  </a:lnTo>
                  <a:lnTo>
                    <a:pt x="2150" y="1428"/>
                  </a:lnTo>
                  <a:lnTo>
                    <a:pt x="2152" y="1452"/>
                  </a:lnTo>
                  <a:lnTo>
                    <a:pt x="2155" y="1476"/>
                  </a:lnTo>
                  <a:lnTo>
                    <a:pt x="2159" y="1499"/>
                  </a:lnTo>
                  <a:lnTo>
                    <a:pt x="2164" y="1521"/>
                  </a:lnTo>
                  <a:lnTo>
                    <a:pt x="2170" y="1543"/>
                  </a:lnTo>
                  <a:lnTo>
                    <a:pt x="2178" y="1564"/>
                  </a:lnTo>
                  <a:lnTo>
                    <a:pt x="2186" y="1586"/>
                  </a:lnTo>
                  <a:lnTo>
                    <a:pt x="2195" y="1606"/>
                  </a:lnTo>
                  <a:lnTo>
                    <a:pt x="2205" y="1626"/>
                  </a:lnTo>
                  <a:lnTo>
                    <a:pt x="2215" y="1644"/>
                  </a:lnTo>
                  <a:lnTo>
                    <a:pt x="2227" y="1663"/>
                  </a:lnTo>
                  <a:lnTo>
                    <a:pt x="2240" y="1680"/>
                  </a:lnTo>
                  <a:lnTo>
                    <a:pt x="2253" y="1697"/>
                  </a:lnTo>
                  <a:lnTo>
                    <a:pt x="2267" y="1714"/>
                  </a:lnTo>
                  <a:lnTo>
                    <a:pt x="2282" y="1730"/>
                  </a:lnTo>
                  <a:lnTo>
                    <a:pt x="2298" y="1744"/>
                  </a:lnTo>
                  <a:lnTo>
                    <a:pt x="2315" y="1758"/>
                  </a:lnTo>
                  <a:lnTo>
                    <a:pt x="2332" y="1771"/>
                  </a:lnTo>
                  <a:lnTo>
                    <a:pt x="2352" y="1784"/>
                  </a:lnTo>
                  <a:lnTo>
                    <a:pt x="2370" y="1795"/>
                  </a:lnTo>
                  <a:lnTo>
                    <a:pt x="2390" y="1805"/>
                  </a:lnTo>
                  <a:lnTo>
                    <a:pt x="2410" y="1815"/>
                  </a:lnTo>
                  <a:lnTo>
                    <a:pt x="2431" y="1824"/>
                  </a:lnTo>
                  <a:lnTo>
                    <a:pt x="2452" y="1832"/>
                  </a:lnTo>
                  <a:lnTo>
                    <a:pt x="2474" y="1839"/>
                  </a:lnTo>
                  <a:lnTo>
                    <a:pt x="2498" y="1845"/>
                  </a:lnTo>
                  <a:lnTo>
                    <a:pt x="2521" y="1850"/>
                  </a:lnTo>
                  <a:lnTo>
                    <a:pt x="2544" y="1854"/>
                  </a:lnTo>
                  <a:lnTo>
                    <a:pt x="2568" y="1856"/>
                  </a:lnTo>
                  <a:lnTo>
                    <a:pt x="2593" y="1858"/>
                  </a:lnTo>
                  <a:lnTo>
                    <a:pt x="2618" y="1859"/>
                  </a:lnTo>
                  <a:lnTo>
                    <a:pt x="2647" y="1858"/>
                  </a:lnTo>
                  <a:lnTo>
                    <a:pt x="2675" y="1855"/>
                  </a:lnTo>
                  <a:lnTo>
                    <a:pt x="2703" y="1850"/>
                  </a:lnTo>
                  <a:lnTo>
                    <a:pt x="2730" y="1843"/>
                  </a:lnTo>
                  <a:lnTo>
                    <a:pt x="2755" y="1834"/>
                  </a:lnTo>
                  <a:lnTo>
                    <a:pt x="2781" y="1824"/>
                  </a:lnTo>
                  <a:lnTo>
                    <a:pt x="2805" y="1813"/>
                  </a:lnTo>
                  <a:lnTo>
                    <a:pt x="2829" y="1800"/>
                  </a:lnTo>
                  <a:lnTo>
                    <a:pt x="2851" y="1786"/>
                  </a:lnTo>
                  <a:lnTo>
                    <a:pt x="2872" y="1771"/>
                  </a:lnTo>
                  <a:lnTo>
                    <a:pt x="2892" y="1754"/>
                  </a:lnTo>
                  <a:lnTo>
                    <a:pt x="2910" y="1737"/>
                  </a:lnTo>
                  <a:lnTo>
                    <a:pt x="2927" y="1718"/>
                  </a:lnTo>
                  <a:lnTo>
                    <a:pt x="2943" y="1698"/>
                  </a:lnTo>
                  <a:lnTo>
                    <a:pt x="2957" y="1678"/>
                  </a:lnTo>
                  <a:lnTo>
                    <a:pt x="2969" y="1657"/>
                  </a:lnTo>
                  <a:lnTo>
                    <a:pt x="3243" y="1779"/>
                  </a:lnTo>
                  <a:lnTo>
                    <a:pt x="3222" y="1811"/>
                  </a:lnTo>
                  <a:lnTo>
                    <a:pt x="3199" y="1844"/>
                  </a:lnTo>
                  <a:lnTo>
                    <a:pt x="3187" y="1860"/>
                  </a:lnTo>
                  <a:lnTo>
                    <a:pt x="3174" y="1875"/>
                  </a:lnTo>
                  <a:lnTo>
                    <a:pt x="3161" y="1890"/>
                  </a:lnTo>
                  <a:lnTo>
                    <a:pt x="3147" y="1905"/>
                  </a:lnTo>
                  <a:lnTo>
                    <a:pt x="3131" y="1920"/>
                  </a:lnTo>
                  <a:lnTo>
                    <a:pt x="3116" y="1934"/>
                  </a:lnTo>
                  <a:lnTo>
                    <a:pt x="3101" y="1948"/>
                  </a:lnTo>
                  <a:lnTo>
                    <a:pt x="3085" y="1963"/>
                  </a:lnTo>
                  <a:lnTo>
                    <a:pt x="3068" y="1976"/>
                  </a:lnTo>
                  <a:lnTo>
                    <a:pt x="3051" y="1989"/>
                  </a:lnTo>
                  <a:lnTo>
                    <a:pt x="3033" y="2002"/>
                  </a:lnTo>
                  <a:lnTo>
                    <a:pt x="3014" y="2014"/>
                  </a:lnTo>
                  <a:lnTo>
                    <a:pt x="2995" y="2026"/>
                  </a:lnTo>
                  <a:lnTo>
                    <a:pt x="2974" y="2037"/>
                  </a:lnTo>
                  <a:lnTo>
                    <a:pt x="2953" y="2047"/>
                  </a:lnTo>
                  <a:lnTo>
                    <a:pt x="2932" y="2057"/>
                  </a:lnTo>
                  <a:lnTo>
                    <a:pt x="2910" y="2066"/>
                  </a:lnTo>
                  <a:lnTo>
                    <a:pt x="2887" y="2075"/>
                  </a:lnTo>
                  <a:lnTo>
                    <a:pt x="2864" y="2083"/>
                  </a:lnTo>
                  <a:lnTo>
                    <a:pt x="2840" y="2091"/>
                  </a:lnTo>
                  <a:lnTo>
                    <a:pt x="2814" y="2097"/>
                  </a:lnTo>
                  <a:lnTo>
                    <a:pt x="2789" y="2103"/>
                  </a:lnTo>
                  <a:lnTo>
                    <a:pt x="2762" y="2108"/>
                  </a:lnTo>
                  <a:lnTo>
                    <a:pt x="2735" y="2112"/>
                  </a:lnTo>
                  <a:lnTo>
                    <a:pt x="2707" y="2115"/>
                  </a:lnTo>
                  <a:lnTo>
                    <a:pt x="2679" y="2118"/>
                  </a:lnTo>
                  <a:lnTo>
                    <a:pt x="2648" y="2119"/>
                  </a:lnTo>
                  <a:lnTo>
                    <a:pt x="2618" y="2120"/>
                  </a:lnTo>
                  <a:lnTo>
                    <a:pt x="2577" y="2119"/>
                  </a:lnTo>
                  <a:lnTo>
                    <a:pt x="2536" y="2116"/>
                  </a:lnTo>
                  <a:lnTo>
                    <a:pt x="2496" y="2112"/>
                  </a:lnTo>
                  <a:lnTo>
                    <a:pt x="2455" y="2106"/>
                  </a:lnTo>
                  <a:lnTo>
                    <a:pt x="2417" y="2099"/>
                  </a:lnTo>
                  <a:lnTo>
                    <a:pt x="2379" y="2090"/>
                  </a:lnTo>
                  <a:lnTo>
                    <a:pt x="2342" y="2079"/>
                  </a:lnTo>
                  <a:lnTo>
                    <a:pt x="2305" y="2067"/>
                  </a:lnTo>
                  <a:lnTo>
                    <a:pt x="2270" y="2054"/>
                  </a:lnTo>
                  <a:lnTo>
                    <a:pt x="2236" y="2039"/>
                  </a:lnTo>
                  <a:lnTo>
                    <a:pt x="2202" y="2023"/>
                  </a:lnTo>
                  <a:lnTo>
                    <a:pt x="2169" y="2005"/>
                  </a:lnTo>
                  <a:lnTo>
                    <a:pt x="2139" y="1986"/>
                  </a:lnTo>
                  <a:lnTo>
                    <a:pt x="2109" y="1966"/>
                  </a:lnTo>
                  <a:lnTo>
                    <a:pt x="2080" y="1944"/>
                  </a:lnTo>
                  <a:lnTo>
                    <a:pt x="2053" y="1921"/>
                  </a:lnTo>
                  <a:lnTo>
                    <a:pt x="2027" y="1897"/>
                  </a:lnTo>
                  <a:lnTo>
                    <a:pt x="2001" y="1872"/>
                  </a:lnTo>
                  <a:lnTo>
                    <a:pt x="1978" y="1845"/>
                  </a:lnTo>
                  <a:lnTo>
                    <a:pt x="1957" y="1817"/>
                  </a:lnTo>
                  <a:lnTo>
                    <a:pt x="1936" y="1788"/>
                  </a:lnTo>
                  <a:lnTo>
                    <a:pt x="1917" y="1759"/>
                  </a:lnTo>
                  <a:lnTo>
                    <a:pt x="1900" y="1728"/>
                  </a:lnTo>
                  <a:lnTo>
                    <a:pt x="1885" y="1695"/>
                  </a:lnTo>
                  <a:lnTo>
                    <a:pt x="1871" y="1662"/>
                  </a:lnTo>
                  <a:lnTo>
                    <a:pt x="1859" y="1628"/>
                  </a:lnTo>
                  <a:lnTo>
                    <a:pt x="1847" y="1593"/>
                  </a:lnTo>
                  <a:lnTo>
                    <a:pt x="1838" y="1557"/>
                  </a:lnTo>
                  <a:lnTo>
                    <a:pt x="1832" y="1520"/>
                  </a:lnTo>
                  <a:lnTo>
                    <a:pt x="1827" y="1483"/>
                  </a:lnTo>
                  <a:lnTo>
                    <a:pt x="1824" y="1443"/>
                  </a:lnTo>
                  <a:lnTo>
                    <a:pt x="1823" y="1404"/>
                  </a:lnTo>
                  <a:close/>
                  <a:moveTo>
                    <a:pt x="4437" y="2095"/>
                  </a:moveTo>
                  <a:lnTo>
                    <a:pt x="4437" y="971"/>
                  </a:lnTo>
                  <a:lnTo>
                    <a:pt x="3731" y="971"/>
                  </a:lnTo>
                  <a:lnTo>
                    <a:pt x="3731" y="2095"/>
                  </a:lnTo>
                  <a:lnTo>
                    <a:pt x="3413" y="2095"/>
                  </a:lnTo>
                  <a:lnTo>
                    <a:pt x="3413" y="712"/>
                  </a:lnTo>
                  <a:lnTo>
                    <a:pt x="4758" y="712"/>
                  </a:lnTo>
                  <a:lnTo>
                    <a:pt x="4758" y="2095"/>
                  </a:lnTo>
                  <a:lnTo>
                    <a:pt x="4437" y="2095"/>
                  </a:lnTo>
                  <a:close/>
                  <a:moveTo>
                    <a:pt x="6672" y="712"/>
                  </a:moveTo>
                  <a:lnTo>
                    <a:pt x="6672" y="971"/>
                  </a:lnTo>
                  <a:lnTo>
                    <a:pt x="5900" y="971"/>
                  </a:lnTo>
                  <a:lnTo>
                    <a:pt x="5900" y="1216"/>
                  </a:lnTo>
                  <a:lnTo>
                    <a:pt x="6287" y="1216"/>
                  </a:lnTo>
                  <a:lnTo>
                    <a:pt x="6316" y="1216"/>
                  </a:lnTo>
                  <a:lnTo>
                    <a:pt x="6345" y="1218"/>
                  </a:lnTo>
                  <a:lnTo>
                    <a:pt x="6373" y="1221"/>
                  </a:lnTo>
                  <a:lnTo>
                    <a:pt x="6400" y="1225"/>
                  </a:lnTo>
                  <a:lnTo>
                    <a:pt x="6426" y="1230"/>
                  </a:lnTo>
                  <a:lnTo>
                    <a:pt x="6451" y="1236"/>
                  </a:lnTo>
                  <a:lnTo>
                    <a:pt x="6475" y="1243"/>
                  </a:lnTo>
                  <a:lnTo>
                    <a:pt x="6498" y="1251"/>
                  </a:lnTo>
                  <a:lnTo>
                    <a:pt x="6522" y="1260"/>
                  </a:lnTo>
                  <a:lnTo>
                    <a:pt x="6543" y="1269"/>
                  </a:lnTo>
                  <a:lnTo>
                    <a:pt x="6564" y="1280"/>
                  </a:lnTo>
                  <a:lnTo>
                    <a:pt x="6584" y="1291"/>
                  </a:lnTo>
                  <a:lnTo>
                    <a:pt x="6603" y="1304"/>
                  </a:lnTo>
                  <a:lnTo>
                    <a:pt x="6620" y="1317"/>
                  </a:lnTo>
                  <a:lnTo>
                    <a:pt x="6638" y="1332"/>
                  </a:lnTo>
                  <a:lnTo>
                    <a:pt x="6654" y="1346"/>
                  </a:lnTo>
                  <a:lnTo>
                    <a:pt x="6669" y="1361"/>
                  </a:lnTo>
                  <a:lnTo>
                    <a:pt x="6684" y="1377"/>
                  </a:lnTo>
                  <a:lnTo>
                    <a:pt x="6697" y="1394"/>
                  </a:lnTo>
                  <a:lnTo>
                    <a:pt x="6710" y="1411"/>
                  </a:lnTo>
                  <a:lnTo>
                    <a:pt x="6721" y="1429"/>
                  </a:lnTo>
                  <a:lnTo>
                    <a:pt x="6732" y="1447"/>
                  </a:lnTo>
                  <a:lnTo>
                    <a:pt x="6741" y="1467"/>
                  </a:lnTo>
                  <a:lnTo>
                    <a:pt x="6750" y="1486"/>
                  </a:lnTo>
                  <a:lnTo>
                    <a:pt x="6757" y="1506"/>
                  </a:lnTo>
                  <a:lnTo>
                    <a:pt x="6764" y="1526"/>
                  </a:lnTo>
                  <a:lnTo>
                    <a:pt x="6769" y="1546"/>
                  </a:lnTo>
                  <a:lnTo>
                    <a:pt x="6774" y="1567"/>
                  </a:lnTo>
                  <a:lnTo>
                    <a:pt x="6777" y="1590"/>
                  </a:lnTo>
                  <a:lnTo>
                    <a:pt x="6780" y="1611"/>
                  </a:lnTo>
                  <a:lnTo>
                    <a:pt x="6782" y="1633"/>
                  </a:lnTo>
                  <a:lnTo>
                    <a:pt x="6782" y="1655"/>
                  </a:lnTo>
                  <a:lnTo>
                    <a:pt x="6782" y="1677"/>
                  </a:lnTo>
                  <a:lnTo>
                    <a:pt x="6780" y="1699"/>
                  </a:lnTo>
                  <a:lnTo>
                    <a:pt x="6778" y="1721"/>
                  </a:lnTo>
                  <a:lnTo>
                    <a:pt x="6774" y="1743"/>
                  </a:lnTo>
                  <a:lnTo>
                    <a:pt x="6769" y="1764"/>
                  </a:lnTo>
                  <a:lnTo>
                    <a:pt x="6764" y="1784"/>
                  </a:lnTo>
                  <a:lnTo>
                    <a:pt x="6757" y="1804"/>
                  </a:lnTo>
                  <a:lnTo>
                    <a:pt x="6750" y="1824"/>
                  </a:lnTo>
                  <a:lnTo>
                    <a:pt x="6741" y="1844"/>
                  </a:lnTo>
                  <a:lnTo>
                    <a:pt x="6732" y="1863"/>
                  </a:lnTo>
                  <a:lnTo>
                    <a:pt x="6722" y="1881"/>
                  </a:lnTo>
                  <a:lnTo>
                    <a:pt x="6710" y="1899"/>
                  </a:lnTo>
                  <a:lnTo>
                    <a:pt x="6698" y="1916"/>
                  </a:lnTo>
                  <a:lnTo>
                    <a:pt x="6685" y="1933"/>
                  </a:lnTo>
                  <a:lnTo>
                    <a:pt x="6670" y="1949"/>
                  </a:lnTo>
                  <a:lnTo>
                    <a:pt x="6654" y="1965"/>
                  </a:lnTo>
                  <a:lnTo>
                    <a:pt x="6638" y="1979"/>
                  </a:lnTo>
                  <a:lnTo>
                    <a:pt x="6621" y="1993"/>
                  </a:lnTo>
                  <a:lnTo>
                    <a:pt x="6603" y="2006"/>
                  </a:lnTo>
                  <a:lnTo>
                    <a:pt x="6585" y="2018"/>
                  </a:lnTo>
                  <a:lnTo>
                    <a:pt x="6565" y="2030"/>
                  </a:lnTo>
                  <a:lnTo>
                    <a:pt x="6544" y="2041"/>
                  </a:lnTo>
                  <a:lnTo>
                    <a:pt x="6523" y="2050"/>
                  </a:lnTo>
                  <a:lnTo>
                    <a:pt x="6499" y="2059"/>
                  </a:lnTo>
                  <a:lnTo>
                    <a:pt x="6476" y="2067"/>
                  </a:lnTo>
                  <a:lnTo>
                    <a:pt x="6452" y="2074"/>
                  </a:lnTo>
                  <a:lnTo>
                    <a:pt x="6427" y="2080"/>
                  </a:lnTo>
                  <a:lnTo>
                    <a:pt x="6401" y="2085"/>
                  </a:lnTo>
                  <a:lnTo>
                    <a:pt x="6374" y="2090"/>
                  </a:lnTo>
                  <a:lnTo>
                    <a:pt x="6345" y="2093"/>
                  </a:lnTo>
                  <a:lnTo>
                    <a:pt x="6317" y="2095"/>
                  </a:lnTo>
                  <a:lnTo>
                    <a:pt x="6287" y="2095"/>
                  </a:lnTo>
                  <a:lnTo>
                    <a:pt x="5582" y="2095"/>
                  </a:lnTo>
                  <a:lnTo>
                    <a:pt x="5582" y="712"/>
                  </a:lnTo>
                  <a:lnTo>
                    <a:pt x="6672" y="712"/>
                  </a:lnTo>
                  <a:close/>
                  <a:moveTo>
                    <a:pt x="5900" y="1475"/>
                  </a:moveTo>
                  <a:lnTo>
                    <a:pt x="5900" y="1475"/>
                  </a:lnTo>
                  <a:lnTo>
                    <a:pt x="5900" y="1836"/>
                  </a:lnTo>
                  <a:lnTo>
                    <a:pt x="6245" y="1836"/>
                  </a:lnTo>
                  <a:lnTo>
                    <a:pt x="6268" y="1834"/>
                  </a:lnTo>
                  <a:lnTo>
                    <a:pt x="6289" y="1832"/>
                  </a:lnTo>
                  <a:lnTo>
                    <a:pt x="6310" y="1828"/>
                  </a:lnTo>
                  <a:lnTo>
                    <a:pt x="6330" y="1822"/>
                  </a:lnTo>
                  <a:lnTo>
                    <a:pt x="6348" y="1815"/>
                  </a:lnTo>
                  <a:lnTo>
                    <a:pt x="6367" y="1807"/>
                  </a:lnTo>
                  <a:lnTo>
                    <a:pt x="6383" y="1797"/>
                  </a:lnTo>
                  <a:lnTo>
                    <a:pt x="6398" y="1786"/>
                  </a:lnTo>
                  <a:lnTo>
                    <a:pt x="6411" y="1774"/>
                  </a:lnTo>
                  <a:lnTo>
                    <a:pt x="6423" y="1760"/>
                  </a:lnTo>
                  <a:lnTo>
                    <a:pt x="6428" y="1753"/>
                  </a:lnTo>
                  <a:lnTo>
                    <a:pt x="6433" y="1746"/>
                  </a:lnTo>
                  <a:lnTo>
                    <a:pt x="6437" y="1738"/>
                  </a:lnTo>
                  <a:lnTo>
                    <a:pt x="6441" y="1730"/>
                  </a:lnTo>
                  <a:lnTo>
                    <a:pt x="6445" y="1722"/>
                  </a:lnTo>
                  <a:lnTo>
                    <a:pt x="6448" y="1713"/>
                  </a:lnTo>
                  <a:lnTo>
                    <a:pt x="6451" y="1703"/>
                  </a:lnTo>
                  <a:lnTo>
                    <a:pt x="6453" y="1694"/>
                  </a:lnTo>
                  <a:lnTo>
                    <a:pt x="6455" y="1685"/>
                  </a:lnTo>
                  <a:lnTo>
                    <a:pt x="6456" y="1675"/>
                  </a:lnTo>
                  <a:lnTo>
                    <a:pt x="6457" y="1665"/>
                  </a:lnTo>
                  <a:lnTo>
                    <a:pt x="6457" y="1655"/>
                  </a:lnTo>
                  <a:lnTo>
                    <a:pt x="6457" y="1645"/>
                  </a:lnTo>
                  <a:lnTo>
                    <a:pt x="6456" y="1635"/>
                  </a:lnTo>
                  <a:lnTo>
                    <a:pt x="6455" y="1625"/>
                  </a:lnTo>
                  <a:lnTo>
                    <a:pt x="6453" y="1615"/>
                  </a:lnTo>
                  <a:lnTo>
                    <a:pt x="6451" y="1606"/>
                  </a:lnTo>
                  <a:lnTo>
                    <a:pt x="6448" y="1597"/>
                  </a:lnTo>
                  <a:lnTo>
                    <a:pt x="6445" y="1589"/>
                  </a:lnTo>
                  <a:lnTo>
                    <a:pt x="6441" y="1579"/>
                  </a:lnTo>
                  <a:lnTo>
                    <a:pt x="6437" y="1571"/>
                  </a:lnTo>
                  <a:lnTo>
                    <a:pt x="6433" y="1563"/>
                  </a:lnTo>
                  <a:lnTo>
                    <a:pt x="6428" y="1556"/>
                  </a:lnTo>
                  <a:lnTo>
                    <a:pt x="6423" y="1549"/>
                  </a:lnTo>
                  <a:lnTo>
                    <a:pt x="6411" y="1535"/>
                  </a:lnTo>
                  <a:lnTo>
                    <a:pt x="6398" y="1523"/>
                  </a:lnTo>
                  <a:lnTo>
                    <a:pt x="6383" y="1512"/>
                  </a:lnTo>
                  <a:lnTo>
                    <a:pt x="6367" y="1502"/>
                  </a:lnTo>
                  <a:lnTo>
                    <a:pt x="6348" y="1494"/>
                  </a:lnTo>
                  <a:lnTo>
                    <a:pt x="6330" y="1487"/>
                  </a:lnTo>
                  <a:lnTo>
                    <a:pt x="6310" y="1482"/>
                  </a:lnTo>
                  <a:lnTo>
                    <a:pt x="6289" y="1478"/>
                  </a:lnTo>
                  <a:lnTo>
                    <a:pt x="6268" y="1476"/>
                  </a:lnTo>
                  <a:lnTo>
                    <a:pt x="6245" y="1475"/>
                  </a:lnTo>
                  <a:lnTo>
                    <a:pt x="5900" y="1475"/>
                  </a:lnTo>
                  <a:close/>
                  <a:moveTo>
                    <a:pt x="7602" y="2095"/>
                  </a:moveTo>
                  <a:lnTo>
                    <a:pt x="7602" y="1991"/>
                  </a:lnTo>
                  <a:lnTo>
                    <a:pt x="7587" y="2006"/>
                  </a:lnTo>
                  <a:lnTo>
                    <a:pt x="7572" y="2020"/>
                  </a:lnTo>
                  <a:lnTo>
                    <a:pt x="7555" y="2033"/>
                  </a:lnTo>
                  <a:lnTo>
                    <a:pt x="7537" y="2045"/>
                  </a:lnTo>
                  <a:lnTo>
                    <a:pt x="7518" y="2056"/>
                  </a:lnTo>
                  <a:lnTo>
                    <a:pt x="7499" y="2067"/>
                  </a:lnTo>
                  <a:lnTo>
                    <a:pt x="7477" y="2076"/>
                  </a:lnTo>
                  <a:lnTo>
                    <a:pt x="7456" y="2085"/>
                  </a:lnTo>
                  <a:lnTo>
                    <a:pt x="7433" y="2094"/>
                  </a:lnTo>
                  <a:lnTo>
                    <a:pt x="7410" y="2100"/>
                  </a:lnTo>
                  <a:lnTo>
                    <a:pt x="7387" y="2106"/>
                  </a:lnTo>
                  <a:lnTo>
                    <a:pt x="7362" y="2111"/>
                  </a:lnTo>
                  <a:lnTo>
                    <a:pt x="7337" y="2115"/>
                  </a:lnTo>
                  <a:lnTo>
                    <a:pt x="7311" y="2117"/>
                  </a:lnTo>
                  <a:lnTo>
                    <a:pt x="7285" y="2119"/>
                  </a:lnTo>
                  <a:lnTo>
                    <a:pt x="7259" y="2120"/>
                  </a:lnTo>
                  <a:lnTo>
                    <a:pt x="7243" y="2119"/>
                  </a:lnTo>
                  <a:lnTo>
                    <a:pt x="7227" y="2118"/>
                  </a:lnTo>
                  <a:lnTo>
                    <a:pt x="7210" y="2117"/>
                  </a:lnTo>
                  <a:lnTo>
                    <a:pt x="7194" y="2115"/>
                  </a:lnTo>
                  <a:lnTo>
                    <a:pt x="7177" y="2112"/>
                  </a:lnTo>
                  <a:lnTo>
                    <a:pt x="7160" y="2108"/>
                  </a:lnTo>
                  <a:lnTo>
                    <a:pt x="7144" y="2104"/>
                  </a:lnTo>
                  <a:lnTo>
                    <a:pt x="7128" y="2099"/>
                  </a:lnTo>
                  <a:lnTo>
                    <a:pt x="7111" y="2094"/>
                  </a:lnTo>
                  <a:lnTo>
                    <a:pt x="7096" y="2087"/>
                  </a:lnTo>
                  <a:lnTo>
                    <a:pt x="7080" y="2080"/>
                  </a:lnTo>
                  <a:lnTo>
                    <a:pt x="7065" y="2073"/>
                  </a:lnTo>
                  <a:lnTo>
                    <a:pt x="7050" y="2065"/>
                  </a:lnTo>
                  <a:lnTo>
                    <a:pt x="7035" y="2057"/>
                  </a:lnTo>
                  <a:lnTo>
                    <a:pt x="7021" y="2047"/>
                  </a:lnTo>
                  <a:lnTo>
                    <a:pt x="7007" y="2037"/>
                  </a:lnTo>
                  <a:lnTo>
                    <a:pt x="6993" y="2027"/>
                  </a:lnTo>
                  <a:lnTo>
                    <a:pt x="6980" y="2016"/>
                  </a:lnTo>
                  <a:lnTo>
                    <a:pt x="6968" y="2004"/>
                  </a:lnTo>
                  <a:lnTo>
                    <a:pt x="6957" y="1991"/>
                  </a:lnTo>
                  <a:lnTo>
                    <a:pt x="6946" y="1978"/>
                  </a:lnTo>
                  <a:lnTo>
                    <a:pt x="6936" y="1964"/>
                  </a:lnTo>
                  <a:lnTo>
                    <a:pt x="6926" y="1949"/>
                  </a:lnTo>
                  <a:lnTo>
                    <a:pt x="6918" y="1934"/>
                  </a:lnTo>
                  <a:lnTo>
                    <a:pt x="6910" y="1918"/>
                  </a:lnTo>
                  <a:lnTo>
                    <a:pt x="6903" y="1901"/>
                  </a:lnTo>
                  <a:lnTo>
                    <a:pt x="6898" y="1884"/>
                  </a:lnTo>
                  <a:lnTo>
                    <a:pt x="6893" y="1866"/>
                  </a:lnTo>
                  <a:lnTo>
                    <a:pt x="6889" y="1848"/>
                  </a:lnTo>
                  <a:lnTo>
                    <a:pt x="6886" y="1828"/>
                  </a:lnTo>
                  <a:lnTo>
                    <a:pt x="6884" y="1808"/>
                  </a:lnTo>
                  <a:lnTo>
                    <a:pt x="6884" y="1788"/>
                  </a:lnTo>
                  <a:lnTo>
                    <a:pt x="6884" y="1766"/>
                  </a:lnTo>
                  <a:lnTo>
                    <a:pt x="6886" y="1746"/>
                  </a:lnTo>
                  <a:lnTo>
                    <a:pt x="6889" y="1726"/>
                  </a:lnTo>
                  <a:lnTo>
                    <a:pt x="6893" y="1706"/>
                  </a:lnTo>
                  <a:lnTo>
                    <a:pt x="6898" y="1688"/>
                  </a:lnTo>
                  <a:lnTo>
                    <a:pt x="6903" y="1671"/>
                  </a:lnTo>
                  <a:lnTo>
                    <a:pt x="6910" y="1654"/>
                  </a:lnTo>
                  <a:lnTo>
                    <a:pt x="6918" y="1639"/>
                  </a:lnTo>
                  <a:lnTo>
                    <a:pt x="6926" y="1624"/>
                  </a:lnTo>
                  <a:lnTo>
                    <a:pt x="6936" y="1609"/>
                  </a:lnTo>
                  <a:lnTo>
                    <a:pt x="6946" y="1596"/>
                  </a:lnTo>
                  <a:lnTo>
                    <a:pt x="6957" y="1583"/>
                  </a:lnTo>
                  <a:lnTo>
                    <a:pt x="6968" y="1570"/>
                  </a:lnTo>
                  <a:lnTo>
                    <a:pt x="6980" y="1559"/>
                  </a:lnTo>
                  <a:lnTo>
                    <a:pt x="6993" y="1548"/>
                  </a:lnTo>
                  <a:lnTo>
                    <a:pt x="7007" y="1538"/>
                  </a:lnTo>
                  <a:lnTo>
                    <a:pt x="7021" y="1529"/>
                  </a:lnTo>
                  <a:lnTo>
                    <a:pt x="7035" y="1520"/>
                  </a:lnTo>
                  <a:lnTo>
                    <a:pt x="7050" y="1512"/>
                  </a:lnTo>
                  <a:lnTo>
                    <a:pt x="7065" y="1505"/>
                  </a:lnTo>
                  <a:lnTo>
                    <a:pt x="7080" y="1499"/>
                  </a:lnTo>
                  <a:lnTo>
                    <a:pt x="7096" y="1493"/>
                  </a:lnTo>
                  <a:lnTo>
                    <a:pt x="7111" y="1487"/>
                  </a:lnTo>
                  <a:lnTo>
                    <a:pt x="7128" y="1482"/>
                  </a:lnTo>
                  <a:lnTo>
                    <a:pt x="7144" y="1478"/>
                  </a:lnTo>
                  <a:lnTo>
                    <a:pt x="7160" y="1475"/>
                  </a:lnTo>
                  <a:lnTo>
                    <a:pt x="7177" y="1472"/>
                  </a:lnTo>
                  <a:lnTo>
                    <a:pt x="7194" y="1469"/>
                  </a:lnTo>
                  <a:lnTo>
                    <a:pt x="7210" y="1467"/>
                  </a:lnTo>
                  <a:lnTo>
                    <a:pt x="7227" y="1466"/>
                  </a:lnTo>
                  <a:lnTo>
                    <a:pt x="7243" y="1465"/>
                  </a:lnTo>
                  <a:lnTo>
                    <a:pt x="7259" y="1465"/>
                  </a:lnTo>
                  <a:lnTo>
                    <a:pt x="7286" y="1465"/>
                  </a:lnTo>
                  <a:lnTo>
                    <a:pt x="7312" y="1467"/>
                  </a:lnTo>
                  <a:lnTo>
                    <a:pt x="7338" y="1469"/>
                  </a:lnTo>
                  <a:lnTo>
                    <a:pt x="7363" y="1473"/>
                  </a:lnTo>
                  <a:lnTo>
                    <a:pt x="7388" y="1477"/>
                  </a:lnTo>
                  <a:lnTo>
                    <a:pt x="7412" y="1483"/>
                  </a:lnTo>
                  <a:lnTo>
                    <a:pt x="7435" y="1489"/>
                  </a:lnTo>
                  <a:lnTo>
                    <a:pt x="7457" y="1496"/>
                  </a:lnTo>
                  <a:lnTo>
                    <a:pt x="7479" y="1504"/>
                  </a:lnTo>
                  <a:lnTo>
                    <a:pt x="7500" y="1513"/>
                  </a:lnTo>
                  <a:lnTo>
                    <a:pt x="7520" y="1523"/>
                  </a:lnTo>
                  <a:lnTo>
                    <a:pt x="7539" y="1534"/>
                  </a:lnTo>
                  <a:lnTo>
                    <a:pt x="7556" y="1546"/>
                  </a:lnTo>
                  <a:lnTo>
                    <a:pt x="7573" y="1558"/>
                  </a:lnTo>
                  <a:lnTo>
                    <a:pt x="7588" y="1572"/>
                  </a:lnTo>
                  <a:lnTo>
                    <a:pt x="7602" y="1587"/>
                  </a:lnTo>
                  <a:lnTo>
                    <a:pt x="7602" y="1452"/>
                  </a:lnTo>
                  <a:lnTo>
                    <a:pt x="7601" y="1442"/>
                  </a:lnTo>
                  <a:lnTo>
                    <a:pt x="7601" y="1433"/>
                  </a:lnTo>
                  <a:lnTo>
                    <a:pt x="7599" y="1424"/>
                  </a:lnTo>
                  <a:lnTo>
                    <a:pt x="7597" y="1415"/>
                  </a:lnTo>
                  <a:lnTo>
                    <a:pt x="7595" y="1407"/>
                  </a:lnTo>
                  <a:lnTo>
                    <a:pt x="7592" y="1399"/>
                  </a:lnTo>
                  <a:lnTo>
                    <a:pt x="7589" y="1391"/>
                  </a:lnTo>
                  <a:lnTo>
                    <a:pt x="7585" y="1383"/>
                  </a:lnTo>
                  <a:lnTo>
                    <a:pt x="7581" y="1376"/>
                  </a:lnTo>
                  <a:lnTo>
                    <a:pt x="7576" y="1368"/>
                  </a:lnTo>
                  <a:lnTo>
                    <a:pt x="7570" y="1361"/>
                  </a:lnTo>
                  <a:lnTo>
                    <a:pt x="7565" y="1355"/>
                  </a:lnTo>
                  <a:lnTo>
                    <a:pt x="7552" y="1342"/>
                  </a:lnTo>
                  <a:lnTo>
                    <a:pt x="7537" y="1331"/>
                  </a:lnTo>
                  <a:lnTo>
                    <a:pt x="7521" y="1319"/>
                  </a:lnTo>
                  <a:lnTo>
                    <a:pt x="7503" y="1310"/>
                  </a:lnTo>
                  <a:lnTo>
                    <a:pt x="7483" y="1302"/>
                  </a:lnTo>
                  <a:lnTo>
                    <a:pt x="7462" y="1296"/>
                  </a:lnTo>
                  <a:lnTo>
                    <a:pt x="7440" y="1291"/>
                  </a:lnTo>
                  <a:lnTo>
                    <a:pt x="7416" y="1287"/>
                  </a:lnTo>
                  <a:lnTo>
                    <a:pt x="7391" y="1285"/>
                  </a:lnTo>
                  <a:lnTo>
                    <a:pt x="7365" y="1284"/>
                  </a:lnTo>
                  <a:lnTo>
                    <a:pt x="7343" y="1285"/>
                  </a:lnTo>
                  <a:lnTo>
                    <a:pt x="7321" y="1286"/>
                  </a:lnTo>
                  <a:lnTo>
                    <a:pt x="7300" y="1288"/>
                  </a:lnTo>
                  <a:lnTo>
                    <a:pt x="7279" y="1291"/>
                  </a:lnTo>
                  <a:lnTo>
                    <a:pt x="7258" y="1296"/>
                  </a:lnTo>
                  <a:lnTo>
                    <a:pt x="7238" y="1301"/>
                  </a:lnTo>
                  <a:lnTo>
                    <a:pt x="7218" y="1306"/>
                  </a:lnTo>
                  <a:lnTo>
                    <a:pt x="7198" y="1313"/>
                  </a:lnTo>
                  <a:lnTo>
                    <a:pt x="7178" y="1321"/>
                  </a:lnTo>
                  <a:lnTo>
                    <a:pt x="7158" y="1331"/>
                  </a:lnTo>
                  <a:lnTo>
                    <a:pt x="7139" y="1340"/>
                  </a:lnTo>
                  <a:lnTo>
                    <a:pt x="7120" y="1351"/>
                  </a:lnTo>
                  <a:lnTo>
                    <a:pt x="7102" y="1362"/>
                  </a:lnTo>
                  <a:lnTo>
                    <a:pt x="7084" y="1375"/>
                  </a:lnTo>
                  <a:lnTo>
                    <a:pt x="7066" y="1388"/>
                  </a:lnTo>
                  <a:lnTo>
                    <a:pt x="7049" y="1402"/>
                  </a:lnTo>
                  <a:lnTo>
                    <a:pt x="6941" y="1226"/>
                  </a:lnTo>
                  <a:lnTo>
                    <a:pt x="6966" y="1207"/>
                  </a:lnTo>
                  <a:lnTo>
                    <a:pt x="6992" y="1188"/>
                  </a:lnTo>
                  <a:lnTo>
                    <a:pt x="7020" y="1171"/>
                  </a:lnTo>
                  <a:lnTo>
                    <a:pt x="7047" y="1156"/>
                  </a:lnTo>
                  <a:lnTo>
                    <a:pt x="7075" y="1142"/>
                  </a:lnTo>
                  <a:lnTo>
                    <a:pt x="7104" y="1129"/>
                  </a:lnTo>
                  <a:lnTo>
                    <a:pt x="7133" y="1117"/>
                  </a:lnTo>
                  <a:lnTo>
                    <a:pt x="7163" y="1107"/>
                  </a:lnTo>
                  <a:lnTo>
                    <a:pt x="7194" y="1098"/>
                  </a:lnTo>
                  <a:lnTo>
                    <a:pt x="7224" y="1090"/>
                  </a:lnTo>
                  <a:lnTo>
                    <a:pt x="7255" y="1084"/>
                  </a:lnTo>
                  <a:lnTo>
                    <a:pt x="7286" y="1078"/>
                  </a:lnTo>
                  <a:lnTo>
                    <a:pt x="7318" y="1073"/>
                  </a:lnTo>
                  <a:lnTo>
                    <a:pt x="7350" y="1070"/>
                  </a:lnTo>
                  <a:lnTo>
                    <a:pt x="7382" y="1069"/>
                  </a:lnTo>
                  <a:lnTo>
                    <a:pt x="7414" y="1068"/>
                  </a:lnTo>
                  <a:lnTo>
                    <a:pt x="7437" y="1068"/>
                  </a:lnTo>
                  <a:lnTo>
                    <a:pt x="7459" y="1069"/>
                  </a:lnTo>
                  <a:lnTo>
                    <a:pt x="7482" y="1070"/>
                  </a:lnTo>
                  <a:lnTo>
                    <a:pt x="7505" y="1072"/>
                  </a:lnTo>
                  <a:lnTo>
                    <a:pt x="7527" y="1076"/>
                  </a:lnTo>
                  <a:lnTo>
                    <a:pt x="7549" y="1079"/>
                  </a:lnTo>
                  <a:lnTo>
                    <a:pt x="7570" y="1083"/>
                  </a:lnTo>
                  <a:lnTo>
                    <a:pt x="7591" y="1088"/>
                  </a:lnTo>
                  <a:lnTo>
                    <a:pt x="7612" y="1093"/>
                  </a:lnTo>
                  <a:lnTo>
                    <a:pt x="7632" y="1099"/>
                  </a:lnTo>
                  <a:lnTo>
                    <a:pt x="7653" y="1105"/>
                  </a:lnTo>
                  <a:lnTo>
                    <a:pt x="7672" y="1113"/>
                  </a:lnTo>
                  <a:lnTo>
                    <a:pt x="7691" y="1121"/>
                  </a:lnTo>
                  <a:lnTo>
                    <a:pt x="7708" y="1130"/>
                  </a:lnTo>
                  <a:lnTo>
                    <a:pt x="7726" y="1139"/>
                  </a:lnTo>
                  <a:lnTo>
                    <a:pt x="7742" y="1150"/>
                  </a:lnTo>
                  <a:lnTo>
                    <a:pt x="7758" y="1161"/>
                  </a:lnTo>
                  <a:lnTo>
                    <a:pt x="7773" y="1174"/>
                  </a:lnTo>
                  <a:lnTo>
                    <a:pt x="7788" y="1187"/>
                  </a:lnTo>
                  <a:lnTo>
                    <a:pt x="7801" y="1201"/>
                  </a:lnTo>
                  <a:lnTo>
                    <a:pt x="7815" y="1217"/>
                  </a:lnTo>
                  <a:lnTo>
                    <a:pt x="7827" y="1232"/>
                  </a:lnTo>
                  <a:lnTo>
                    <a:pt x="7838" y="1249"/>
                  </a:lnTo>
                  <a:lnTo>
                    <a:pt x="7847" y="1267"/>
                  </a:lnTo>
                  <a:lnTo>
                    <a:pt x="7856" y="1286"/>
                  </a:lnTo>
                  <a:lnTo>
                    <a:pt x="7864" y="1305"/>
                  </a:lnTo>
                  <a:lnTo>
                    <a:pt x="7871" y="1326"/>
                  </a:lnTo>
                  <a:lnTo>
                    <a:pt x="7876" y="1349"/>
                  </a:lnTo>
                  <a:lnTo>
                    <a:pt x="7881" y="1372"/>
                  </a:lnTo>
                  <a:lnTo>
                    <a:pt x="7884" y="1396"/>
                  </a:lnTo>
                  <a:lnTo>
                    <a:pt x="7886" y="1421"/>
                  </a:lnTo>
                  <a:lnTo>
                    <a:pt x="7886" y="1447"/>
                  </a:lnTo>
                  <a:lnTo>
                    <a:pt x="7886" y="2095"/>
                  </a:lnTo>
                  <a:lnTo>
                    <a:pt x="7602" y="2095"/>
                  </a:lnTo>
                  <a:close/>
                  <a:moveTo>
                    <a:pt x="7602" y="1854"/>
                  </a:moveTo>
                  <a:lnTo>
                    <a:pt x="7602" y="1854"/>
                  </a:lnTo>
                  <a:lnTo>
                    <a:pt x="7602" y="1730"/>
                  </a:lnTo>
                  <a:lnTo>
                    <a:pt x="7592" y="1720"/>
                  </a:lnTo>
                  <a:lnTo>
                    <a:pt x="7582" y="1710"/>
                  </a:lnTo>
                  <a:lnTo>
                    <a:pt x="7571" y="1700"/>
                  </a:lnTo>
                  <a:lnTo>
                    <a:pt x="7559" y="1691"/>
                  </a:lnTo>
                  <a:lnTo>
                    <a:pt x="7547" y="1684"/>
                  </a:lnTo>
                  <a:lnTo>
                    <a:pt x="7533" y="1676"/>
                  </a:lnTo>
                  <a:lnTo>
                    <a:pt x="7519" y="1670"/>
                  </a:lnTo>
                  <a:lnTo>
                    <a:pt x="7505" y="1664"/>
                  </a:lnTo>
                  <a:lnTo>
                    <a:pt x="7490" y="1659"/>
                  </a:lnTo>
                  <a:lnTo>
                    <a:pt x="7473" y="1655"/>
                  </a:lnTo>
                  <a:lnTo>
                    <a:pt x="7457" y="1651"/>
                  </a:lnTo>
                  <a:lnTo>
                    <a:pt x="7441" y="1648"/>
                  </a:lnTo>
                  <a:lnTo>
                    <a:pt x="7424" y="1646"/>
                  </a:lnTo>
                  <a:lnTo>
                    <a:pt x="7408" y="1644"/>
                  </a:lnTo>
                  <a:lnTo>
                    <a:pt x="7391" y="1643"/>
                  </a:lnTo>
                  <a:lnTo>
                    <a:pt x="7374" y="1643"/>
                  </a:lnTo>
                  <a:lnTo>
                    <a:pt x="7353" y="1643"/>
                  </a:lnTo>
                  <a:lnTo>
                    <a:pt x="7333" y="1645"/>
                  </a:lnTo>
                  <a:lnTo>
                    <a:pt x="7313" y="1648"/>
                  </a:lnTo>
                  <a:lnTo>
                    <a:pt x="7294" y="1652"/>
                  </a:lnTo>
                  <a:lnTo>
                    <a:pt x="7277" y="1658"/>
                  </a:lnTo>
                  <a:lnTo>
                    <a:pt x="7260" y="1665"/>
                  </a:lnTo>
                  <a:lnTo>
                    <a:pt x="7244" y="1672"/>
                  </a:lnTo>
                  <a:lnTo>
                    <a:pt x="7230" y="1681"/>
                  </a:lnTo>
                  <a:lnTo>
                    <a:pt x="7217" y="1692"/>
                  </a:lnTo>
                  <a:lnTo>
                    <a:pt x="7205" y="1703"/>
                  </a:lnTo>
                  <a:lnTo>
                    <a:pt x="7195" y="1716"/>
                  </a:lnTo>
                  <a:lnTo>
                    <a:pt x="7186" y="1730"/>
                  </a:lnTo>
                  <a:lnTo>
                    <a:pt x="7183" y="1737"/>
                  </a:lnTo>
                  <a:lnTo>
                    <a:pt x="7180" y="1744"/>
                  </a:lnTo>
                  <a:lnTo>
                    <a:pt x="7177" y="1752"/>
                  </a:lnTo>
                  <a:lnTo>
                    <a:pt x="7175" y="1759"/>
                  </a:lnTo>
                  <a:lnTo>
                    <a:pt x="7173" y="1768"/>
                  </a:lnTo>
                  <a:lnTo>
                    <a:pt x="7172" y="1776"/>
                  </a:lnTo>
                  <a:lnTo>
                    <a:pt x="7171" y="1785"/>
                  </a:lnTo>
                  <a:lnTo>
                    <a:pt x="7170" y="1794"/>
                  </a:lnTo>
                  <a:lnTo>
                    <a:pt x="7171" y="1802"/>
                  </a:lnTo>
                  <a:lnTo>
                    <a:pt x="7172" y="1811"/>
                  </a:lnTo>
                  <a:lnTo>
                    <a:pt x="7173" y="1819"/>
                  </a:lnTo>
                  <a:lnTo>
                    <a:pt x="7175" y="1827"/>
                  </a:lnTo>
                  <a:lnTo>
                    <a:pt x="7177" y="1834"/>
                  </a:lnTo>
                  <a:lnTo>
                    <a:pt x="7180" y="1843"/>
                  </a:lnTo>
                  <a:lnTo>
                    <a:pt x="7183" y="1850"/>
                  </a:lnTo>
                  <a:lnTo>
                    <a:pt x="7186" y="1857"/>
                  </a:lnTo>
                  <a:lnTo>
                    <a:pt x="7195" y="1870"/>
                  </a:lnTo>
                  <a:lnTo>
                    <a:pt x="7205" y="1882"/>
                  </a:lnTo>
                  <a:lnTo>
                    <a:pt x="7217" y="1893"/>
                  </a:lnTo>
                  <a:lnTo>
                    <a:pt x="7230" y="1902"/>
                  </a:lnTo>
                  <a:lnTo>
                    <a:pt x="7244" y="1911"/>
                  </a:lnTo>
                  <a:lnTo>
                    <a:pt x="7260" y="1919"/>
                  </a:lnTo>
                  <a:lnTo>
                    <a:pt x="7277" y="1926"/>
                  </a:lnTo>
                  <a:lnTo>
                    <a:pt x="7294" y="1931"/>
                  </a:lnTo>
                  <a:lnTo>
                    <a:pt x="7313" y="1935"/>
                  </a:lnTo>
                  <a:lnTo>
                    <a:pt x="7333" y="1938"/>
                  </a:lnTo>
                  <a:lnTo>
                    <a:pt x="7353" y="1940"/>
                  </a:lnTo>
                  <a:lnTo>
                    <a:pt x="7374" y="1941"/>
                  </a:lnTo>
                  <a:lnTo>
                    <a:pt x="7391" y="1940"/>
                  </a:lnTo>
                  <a:lnTo>
                    <a:pt x="7408" y="1939"/>
                  </a:lnTo>
                  <a:lnTo>
                    <a:pt x="7424" y="1938"/>
                  </a:lnTo>
                  <a:lnTo>
                    <a:pt x="7441" y="1935"/>
                  </a:lnTo>
                  <a:lnTo>
                    <a:pt x="7457" y="1932"/>
                  </a:lnTo>
                  <a:lnTo>
                    <a:pt x="7473" y="1929"/>
                  </a:lnTo>
                  <a:lnTo>
                    <a:pt x="7490" y="1924"/>
                  </a:lnTo>
                  <a:lnTo>
                    <a:pt x="7505" y="1919"/>
                  </a:lnTo>
                  <a:lnTo>
                    <a:pt x="7519" y="1913"/>
                  </a:lnTo>
                  <a:lnTo>
                    <a:pt x="7533" y="1907"/>
                  </a:lnTo>
                  <a:lnTo>
                    <a:pt x="7547" y="1900"/>
                  </a:lnTo>
                  <a:lnTo>
                    <a:pt x="7559" y="1892"/>
                  </a:lnTo>
                  <a:lnTo>
                    <a:pt x="7571" y="1884"/>
                  </a:lnTo>
                  <a:lnTo>
                    <a:pt x="7582" y="1875"/>
                  </a:lnTo>
                  <a:lnTo>
                    <a:pt x="7592" y="1865"/>
                  </a:lnTo>
                  <a:lnTo>
                    <a:pt x="7602" y="1854"/>
                  </a:lnTo>
                  <a:close/>
                  <a:moveTo>
                    <a:pt x="8147" y="2095"/>
                  </a:moveTo>
                  <a:lnTo>
                    <a:pt x="8147" y="1094"/>
                  </a:lnTo>
                  <a:lnTo>
                    <a:pt x="8431" y="1094"/>
                  </a:lnTo>
                  <a:lnTo>
                    <a:pt x="8431" y="1465"/>
                  </a:lnTo>
                  <a:lnTo>
                    <a:pt x="8878" y="1465"/>
                  </a:lnTo>
                  <a:lnTo>
                    <a:pt x="8878" y="1094"/>
                  </a:lnTo>
                  <a:lnTo>
                    <a:pt x="9163" y="1094"/>
                  </a:lnTo>
                  <a:lnTo>
                    <a:pt x="9163" y="2095"/>
                  </a:lnTo>
                  <a:lnTo>
                    <a:pt x="8878" y="2095"/>
                  </a:lnTo>
                  <a:lnTo>
                    <a:pt x="8878" y="1694"/>
                  </a:lnTo>
                  <a:lnTo>
                    <a:pt x="8431" y="1694"/>
                  </a:lnTo>
                  <a:lnTo>
                    <a:pt x="8431" y="2095"/>
                  </a:lnTo>
                  <a:lnTo>
                    <a:pt x="8147" y="2095"/>
                  </a:lnTo>
                  <a:close/>
                  <a:moveTo>
                    <a:pt x="10127" y="2095"/>
                  </a:moveTo>
                  <a:lnTo>
                    <a:pt x="9840" y="1710"/>
                  </a:lnTo>
                  <a:lnTo>
                    <a:pt x="9709" y="1838"/>
                  </a:lnTo>
                  <a:lnTo>
                    <a:pt x="9709" y="2095"/>
                  </a:lnTo>
                  <a:lnTo>
                    <a:pt x="9426" y="2095"/>
                  </a:lnTo>
                  <a:lnTo>
                    <a:pt x="9426" y="1094"/>
                  </a:lnTo>
                  <a:lnTo>
                    <a:pt x="9709" y="1094"/>
                  </a:lnTo>
                  <a:lnTo>
                    <a:pt x="9709" y="1539"/>
                  </a:lnTo>
                  <a:lnTo>
                    <a:pt x="10120" y="1094"/>
                  </a:lnTo>
                  <a:lnTo>
                    <a:pt x="10469" y="1094"/>
                  </a:lnTo>
                  <a:lnTo>
                    <a:pt x="10041" y="1547"/>
                  </a:lnTo>
                  <a:lnTo>
                    <a:pt x="10482" y="2095"/>
                  </a:lnTo>
                  <a:lnTo>
                    <a:pt x="10127" y="2095"/>
                  </a:lnTo>
                  <a:close/>
                  <a:moveTo>
                    <a:pt x="14428" y="1078"/>
                  </a:moveTo>
                  <a:lnTo>
                    <a:pt x="13892" y="3416"/>
                  </a:lnTo>
                  <a:lnTo>
                    <a:pt x="12440" y="3416"/>
                  </a:lnTo>
                  <a:lnTo>
                    <a:pt x="12977" y="1078"/>
                  </a:lnTo>
                  <a:lnTo>
                    <a:pt x="12555" y="0"/>
                  </a:lnTo>
                  <a:lnTo>
                    <a:pt x="14006" y="0"/>
                  </a:lnTo>
                  <a:lnTo>
                    <a:pt x="14428" y="1078"/>
                  </a:lnTo>
                  <a:close/>
                  <a:moveTo>
                    <a:pt x="16100" y="1078"/>
                  </a:moveTo>
                  <a:lnTo>
                    <a:pt x="15798" y="2391"/>
                  </a:lnTo>
                  <a:lnTo>
                    <a:pt x="15564" y="3416"/>
                  </a:lnTo>
                  <a:lnTo>
                    <a:pt x="15564" y="3416"/>
                  </a:lnTo>
                  <a:lnTo>
                    <a:pt x="14112" y="3416"/>
                  </a:lnTo>
                  <a:lnTo>
                    <a:pt x="14648" y="1078"/>
                  </a:lnTo>
                  <a:lnTo>
                    <a:pt x="14226" y="0"/>
                  </a:lnTo>
                  <a:lnTo>
                    <a:pt x="14226" y="0"/>
                  </a:lnTo>
                  <a:lnTo>
                    <a:pt x="15678" y="0"/>
                  </a:lnTo>
                  <a:lnTo>
                    <a:pt x="16100" y="1078"/>
                  </a:lnTo>
                  <a:close/>
                  <a:moveTo>
                    <a:pt x="15518" y="3302"/>
                  </a:moveTo>
                  <a:lnTo>
                    <a:pt x="14693" y="1191"/>
                  </a:lnTo>
                  <a:lnTo>
                    <a:pt x="14198" y="3346"/>
                  </a:lnTo>
                  <a:lnTo>
                    <a:pt x="15508" y="3346"/>
                  </a:lnTo>
                  <a:lnTo>
                    <a:pt x="15518" y="3302"/>
                  </a:lnTo>
                  <a:close/>
                  <a:moveTo>
                    <a:pt x="13847" y="3302"/>
                  </a:moveTo>
                  <a:lnTo>
                    <a:pt x="13021" y="1191"/>
                  </a:lnTo>
                  <a:lnTo>
                    <a:pt x="12527" y="3346"/>
                  </a:lnTo>
                  <a:lnTo>
                    <a:pt x="13837" y="3346"/>
                  </a:lnTo>
                  <a:lnTo>
                    <a:pt x="13847" y="3302"/>
                  </a:lnTo>
                  <a:close/>
                  <a:moveTo>
                    <a:pt x="12756" y="1078"/>
                  </a:moveTo>
                  <a:lnTo>
                    <a:pt x="12522" y="2097"/>
                  </a:lnTo>
                  <a:lnTo>
                    <a:pt x="12220" y="3416"/>
                  </a:lnTo>
                  <a:lnTo>
                    <a:pt x="12219" y="3416"/>
                  </a:lnTo>
                  <a:lnTo>
                    <a:pt x="10768" y="3416"/>
                  </a:lnTo>
                  <a:lnTo>
                    <a:pt x="11304" y="1078"/>
                  </a:lnTo>
                  <a:lnTo>
                    <a:pt x="11304" y="1078"/>
                  </a:lnTo>
                  <a:lnTo>
                    <a:pt x="10883" y="0"/>
                  </a:lnTo>
                  <a:lnTo>
                    <a:pt x="10883" y="0"/>
                  </a:lnTo>
                  <a:lnTo>
                    <a:pt x="12334" y="0"/>
                  </a:lnTo>
                  <a:lnTo>
                    <a:pt x="12335" y="0"/>
                  </a:lnTo>
                  <a:lnTo>
                    <a:pt x="12593" y="661"/>
                  </a:lnTo>
                  <a:lnTo>
                    <a:pt x="12756" y="1078"/>
                  </a:lnTo>
                  <a:close/>
                  <a:moveTo>
                    <a:pt x="12175" y="3303"/>
                  </a:moveTo>
                  <a:lnTo>
                    <a:pt x="11348" y="1191"/>
                  </a:lnTo>
                  <a:lnTo>
                    <a:pt x="10854" y="3346"/>
                  </a:lnTo>
                  <a:lnTo>
                    <a:pt x="12165" y="3346"/>
                  </a:lnTo>
                  <a:lnTo>
                    <a:pt x="12175" y="33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47" name="Рисунок 4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3363" y="39402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19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Voodoo2 Powerpoint Template">
  <a:themeElements>
    <a:clrScheme name="MSP Bank">
      <a:dk1>
        <a:srgbClr val="222222"/>
      </a:dk1>
      <a:lt1>
        <a:srgbClr val="F0F0F0"/>
      </a:lt1>
      <a:dk2>
        <a:srgbClr val="222222"/>
      </a:dk2>
      <a:lt2>
        <a:srgbClr val="FEFFFF"/>
      </a:lt2>
      <a:accent1>
        <a:srgbClr val="1D46F3"/>
      </a:accent1>
      <a:accent2>
        <a:srgbClr val="FE5757"/>
      </a:accent2>
      <a:accent3>
        <a:srgbClr val="FE0061"/>
      </a:accent3>
      <a:accent4>
        <a:srgbClr val="A905B7"/>
      </a:accent4>
      <a:accent5>
        <a:srgbClr val="7030BD"/>
      </a:accent5>
      <a:accent6>
        <a:srgbClr val="3C4EBC"/>
      </a:accent6>
      <a:hlink>
        <a:srgbClr val="5352F5"/>
      </a:hlink>
      <a:folHlink>
        <a:srgbClr val="BFBFBF"/>
      </a:folHlink>
    </a:clrScheme>
    <a:fontScheme name="Montserrat + Golos UI">
      <a:majorFont>
        <a:latin typeface="Montserrat Bold"/>
        <a:ea typeface=""/>
        <a:cs typeface=""/>
      </a:majorFont>
      <a:minorFont>
        <a:latin typeface="Golos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144000" bIns="36000" rtlCol="0">
        <a:spAutoFit/>
      </a:bodyPr>
      <a:lstStyle>
        <a:defPPr>
          <a:lnSpc>
            <a:spcPct val="12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2.xml><?xml version="1.0" encoding="utf-8"?>
<a:theme xmlns:a="http://schemas.openxmlformats.org/drawingml/2006/main" name="4_Voodoo2 Powerpoint Template">
  <a:themeElements>
    <a:clrScheme name="MSP Bank">
      <a:dk1>
        <a:srgbClr val="222222"/>
      </a:dk1>
      <a:lt1>
        <a:srgbClr val="F0F0F0"/>
      </a:lt1>
      <a:dk2>
        <a:srgbClr val="222222"/>
      </a:dk2>
      <a:lt2>
        <a:srgbClr val="FEFFFF"/>
      </a:lt2>
      <a:accent1>
        <a:srgbClr val="1D46F3"/>
      </a:accent1>
      <a:accent2>
        <a:srgbClr val="FE5757"/>
      </a:accent2>
      <a:accent3>
        <a:srgbClr val="FE0061"/>
      </a:accent3>
      <a:accent4>
        <a:srgbClr val="A905B7"/>
      </a:accent4>
      <a:accent5>
        <a:srgbClr val="7030BD"/>
      </a:accent5>
      <a:accent6>
        <a:srgbClr val="3C4EBC"/>
      </a:accent6>
      <a:hlink>
        <a:srgbClr val="5352F5"/>
      </a:hlink>
      <a:folHlink>
        <a:srgbClr val="BFBFBF"/>
      </a:folHlink>
    </a:clrScheme>
    <a:fontScheme name="Montserrat + Golos UI">
      <a:majorFont>
        <a:latin typeface="Montserrat Bold"/>
        <a:ea typeface=""/>
        <a:cs typeface=""/>
      </a:majorFont>
      <a:minorFont>
        <a:latin typeface="Golos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144000" bIns="36000" rtlCol="0">
        <a:spAutoFit/>
      </a:bodyPr>
      <a:lstStyle>
        <a:defPPr>
          <a:lnSpc>
            <a:spcPct val="12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60</TotalTime>
  <Words>509</Words>
  <Application>Microsoft Office PowerPoint</Application>
  <PresentationFormat>Широкоэкранный</PresentationFormat>
  <Paragraphs>125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4" baseType="lpstr">
      <vt:lpstr>Golos Text VF</vt:lpstr>
      <vt:lpstr>Segoe UI</vt:lpstr>
      <vt:lpstr>Wingdings</vt:lpstr>
      <vt:lpstr>Segoe UI Semibold</vt:lpstr>
      <vt:lpstr>Montserrat Bold</vt:lpstr>
      <vt:lpstr>Arial</vt:lpstr>
      <vt:lpstr>Golos UI</vt:lpstr>
      <vt:lpstr>Calibri</vt:lpstr>
      <vt:lpstr>PT Root UI</vt:lpstr>
      <vt:lpstr>Helvetica Neue</vt:lpstr>
      <vt:lpstr>Open Sans SemiBold</vt:lpstr>
      <vt:lpstr>PT Root UI Light</vt:lpstr>
      <vt:lpstr>Montserrat SemiBold</vt:lpstr>
      <vt:lpstr>Segoe UI Black</vt:lpstr>
      <vt:lpstr>3_Voodoo2 Powerpoint Template</vt:lpstr>
      <vt:lpstr>4_Voodoo2 Powerpoint Templat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Андреева Татьяна Александровна</cp:lastModifiedBy>
  <cp:revision>947</cp:revision>
  <cp:lastPrinted>2023-02-02T15:10:28Z</cp:lastPrinted>
  <dcterms:created xsi:type="dcterms:W3CDTF">2022-02-09T17:47:39Z</dcterms:created>
  <dcterms:modified xsi:type="dcterms:W3CDTF">2023-02-27T12:52:22Z</dcterms:modified>
</cp:coreProperties>
</file>